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handoutMasterIdLst>
    <p:handoutMasterId r:id="rId18"/>
  </p:handoutMasterIdLst>
  <p:sldIdLst>
    <p:sldId id="256" r:id="rId5"/>
    <p:sldId id="4848" r:id="rId6"/>
    <p:sldId id="2147375614" r:id="rId7"/>
    <p:sldId id="2147375621" r:id="rId8"/>
    <p:sldId id="2147375616" r:id="rId9"/>
    <p:sldId id="2147375622" r:id="rId10"/>
    <p:sldId id="2147375615" r:id="rId11"/>
    <p:sldId id="2147375623" r:id="rId12"/>
    <p:sldId id="2147375617" r:id="rId13"/>
    <p:sldId id="2147375618" r:id="rId14"/>
    <p:sldId id="2147375619" r:id="rId15"/>
    <p:sldId id="1633"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79" d="100"/>
          <a:sy n="79" d="100"/>
        </p:scale>
        <p:origin x="773"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Hitesh, Hitesh SBOBNG-PTIY/AEC" userId="4b40d14c-6959-4a04-b09b-037994df9ab1" providerId="ADAL" clId="{9DAD72F2-A79A-4EF4-B97E-EE819A59AC46}"/>
    <pc:docChg chg="undo custSel delSld modSld">
      <pc:chgData name="Hitesh, Hitesh SBOBNG-PTIY/AEC" userId="4b40d14c-6959-4a04-b09b-037994df9ab1" providerId="ADAL" clId="{9DAD72F2-A79A-4EF4-B97E-EE819A59AC46}" dt="2024-09-05T08:06:46.113" v="12" actId="20577"/>
      <pc:docMkLst>
        <pc:docMk/>
      </pc:docMkLst>
      <pc:sldChg chg="modSp mod">
        <pc:chgData name="Hitesh, Hitesh SBOBNG-PTIY/AEC" userId="4b40d14c-6959-4a04-b09b-037994df9ab1" providerId="ADAL" clId="{9DAD72F2-A79A-4EF4-B97E-EE819A59AC46}" dt="2024-09-05T08:06:46.113" v="12" actId="20577"/>
        <pc:sldMkLst>
          <pc:docMk/>
          <pc:sldMk cId="3267775274" sldId="256"/>
        </pc:sldMkLst>
        <pc:spChg chg="mod">
          <ac:chgData name="Hitesh, Hitesh SBOBNG-PTIY/AEC" userId="4b40d14c-6959-4a04-b09b-037994df9ab1" providerId="ADAL" clId="{9DAD72F2-A79A-4EF4-B97E-EE819A59AC46}" dt="2024-09-05T03:46:28.686" v="3" actId="20577"/>
          <ac:spMkLst>
            <pc:docMk/>
            <pc:sldMk cId="3267775274" sldId="256"/>
            <ac:spMk id="6" creationId="{0C37A4A8-A3C7-407F-B123-88E2E165C827}"/>
          </ac:spMkLst>
        </pc:spChg>
        <pc:spChg chg="mod">
          <ac:chgData name="Hitesh, Hitesh SBOBNG-PTIY/AEC" userId="4b40d14c-6959-4a04-b09b-037994df9ab1" providerId="ADAL" clId="{9DAD72F2-A79A-4EF4-B97E-EE819A59AC46}" dt="2024-09-05T08:06:46.113" v="12" actId="20577"/>
          <ac:spMkLst>
            <pc:docMk/>
            <pc:sldMk cId="3267775274" sldId="256"/>
            <ac:spMk id="13" creationId="{C48F8DD6-A1B3-8126-FAC3-218B712C7FFB}"/>
          </ac:spMkLst>
        </pc:spChg>
      </pc:sldChg>
      <pc:sldChg chg="addSp delSp modSp mod">
        <pc:chgData name="Hitesh, Hitesh SBOBNG-PTIY/AEC" userId="4b40d14c-6959-4a04-b09b-037994df9ab1" providerId="ADAL" clId="{9DAD72F2-A79A-4EF4-B97E-EE819A59AC46}" dt="2024-09-05T03:46:41.776" v="7" actId="20577"/>
        <pc:sldMkLst>
          <pc:docMk/>
          <pc:sldMk cId="245881457" sldId="2147375597"/>
        </pc:sldMkLst>
        <pc:spChg chg="mod">
          <ac:chgData name="Hitesh, Hitesh SBOBNG-PTIY/AEC" userId="4b40d14c-6959-4a04-b09b-037994df9ab1" providerId="ADAL" clId="{9DAD72F2-A79A-4EF4-B97E-EE819A59AC46}" dt="2024-09-05T03:46:36.834" v="4" actId="20577"/>
          <ac:spMkLst>
            <pc:docMk/>
            <pc:sldMk cId="245881457" sldId="2147375597"/>
            <ac:spMk id="2" creationId="{62AEE4DC-6FE4-5FAA-3BF0-9E51B9541760}"/>
          </ac:spMkLst>
        </pc:spChg>
        <pc:spChg chg="add del mod">
          <ac:chgData name="Hitesh, Hitesh SBOBNG-PTIY/AEC" userId="4b40d14c-6959-4a04-b09b-037994df9ab1" providerId="ADAL" clId="{9DAD72F2-A79A-4EF4-B97E-EE819A59AC46}" dt="2024-09-05T03:46:41.776" v="7" actId="20577"/>
          <ac:spMkLst>
            <pc:docMk/>
            <pc:sldMk cId="245881457" sldId="2147375597"/>
            <ac:spMk id="6" creationId="{AF1DEF1E-47CD-F7EA-05EA-B343CFE2C4BE}"/>
          </ac:spMkLst>
        </pc:spChg>
      </pc:sldChg>
      <pc:sldChg chg="modSp mod">
        <pc:chgData name="Hitesh, Hitesh SBOBNG-PTIY/AEC" userId="4b40d14c-6959-4a04-b09b-037994df9ab1" providerId="ADAL" clId="{9DAD72F2-A79A-4EF4-B97E-EE819A59AC46}" dt="2024-09-05T03:46:45.960" v="9" actId="20577"/>
        <pc:sldMkLst>
          <pc:docMk/>
          <pc:sldMk cId="2425867731" sldId="2147375605"/>
        </pc:sldMkLst>
        <pc:spChg chg="mod">
          <ac:chgData name="Hitesh, Hitesh SBOBNG-PTIY/AEC" userId="4b40d14c-6959-4a04-b09b-037994df9ab1" providerId="ADAL" clId="{9DAD72F2-A79A-4EF4-B97E-EE819A59AC46}" dt="2024-09-05T03:46:44.340" v="8" actId="20577"/>
          <ac:spMkLst>
            <pc:docMk/>
            <pc:sldMk cId="2425867731" sldId="2147375605"/>
            <ac:spMk id="2" creationId="{62AEE4DC-6FE4-5FAA-3BF0-9E51B9541760}"/>
          </ac:spMkLst>
        </pc:spChg>
        <pc:spChg chg="mod">
          <ac:chgData name="Hitesh, Hitesh SBOBNG-PTIY/AEC" userId="4b40d14c-6959-4a04-b09b-037994df9ab1" providerId="ADAL" clId="{9DAD72F2-A79A-4EF4-B97E-EE819A59AC46}" dt="2024-09-05T03:46:45.960" v="9" actId="20577"/>
          <ac:spMkLst>
            <pc:docMk/>
            <pc:sldMk cId="2425867731" sldId="2147375605"/>
            <ac:spMk id="6" creationId="{AF1DEF1E-47CD-F7EA-05EA-B343CFE2C4BE}"/>
          </ac:spMkLst>
        </pc:spChg>
      </pc:sldChg>
      <pc:sldChg chg="del">
        <pc:chgData name="Hitesh, Hitesh SBOBNG-PTIY/AEC" userId="4b40d14c-6959-4a04-b09b-037994df9ab1" providerId="ADAL" clId="{9DAD72F2-A79A-4EF4-B97E-EE819A59AC46}" dt="2024-09-05T03:46:54.916" v="11" actId="47"/>
        <pc:sldMkLst>
          <pc:docMk/>
          <pc:sldMk cId="4138284177" sldId="2147375609"/>
        </pc:sldMkLst>
      </pc:sldChg>
      <pc:sldChg chg="del">
        <pc:chgData name="Hitesh, Hitesh SBOBNG-PTIY/AEC" userId="4b40d14c-6959-4a04-b09b-037994df9ab1" providerId="ADAL" clId="{9DAD72F2-A79A-4EF4-B97E-EE819A59AC46}" dt="2024-09-05T03:46:54.916" v="11" actId="47"/>
        <pc:sldMkLst>
          <pc:docMk/>
          <pc:sldMk cId="496066721" sldId="2147375611"/>
        </pc:sldMkLst>
      </pc:sldChg>
      <pc:sldChg chg="modSp mod">
        <pc:chgData name="Hitesh, Hitesh SBOBNG-PTIY/AEC" userId="4b40d14c-6959-4a04-b09b-037994df9ab1" providerId="ADAL" clId="{9DAD72F2-A79A-4EF4-B97E-EE819A59AC46}" dt="2024-09-05T03:46:49.264" v="10" actId="20577"/>
        <pc:sldMkLst>
          <pc:docMk/>
          <pc:sldMk cId="3277868491" sldId="2147375612"/>
        </pc:sldMkLst>
        <pc:spChg chg="mod">
          <ac:chgData name="Hitesh, Hitesh SBOBNG-PTIY/AEC" userId="4b40d14c-6959-4a04-b09b-037994df9ab1" providerId="ADAL" clId="{9DAD72F2-A79A-4EF4-B97E-EE819A59AC46}" dt="2024-09-05T03:46:49.264" v="10" actId="20577"/>
          <ac:spMkLst>
            <pc:docMk/>
            <pc:sldMk cId="3277868491" sldId="2147375612"/>
            <ac:spMk id="2" creationId="{62AEE4DC-6FE4-5FAA-3BF0-9E51B9541760}"/>
          </ac:spMkLst>
        </pc:sp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docChgLst>
    <pc:chgData name="Hitesh, Hitesh SBOBNG-PTIY/AEC" userId="4b40d14c-6959-4a04-b09b-037994df9ab1" providerId="ADAL" clId="{72CFDB71-B474-4F23-B71C-DA6680F3F07F}"/>
    <pc:docChg chg="undo custSel addSld delSld modSld sldOrd">
      <pc:chgData name="Hitesh, Hitesh SBOBNG-PTIY/AEC" userId="4b40d14c-6959-4a04-b09b-037994df9ab1" providerId="ADAL" clId="{72CFDB71-B474-4F23-B71C-DA6680F3F07F}" dt="2024-09-04T08:10:55.191" v="6260" actId="20577"/>
      <pc:docMkLst>
        <pc:docMk/>
      </pc:docMkLst>
      <pc:sldChg chg="modSp mod">
        <pc:chgData name="Hitesh, Hitesh SBOBNG-PTIY/AEC" userId="4b40d14c-6959-4a04-b09b-037994df9ab1" providerId="ADAL" clId="{72CFDB71-B474-4F23-B71C-DA6680F3F07F}" dt="2024-09-04T03:29:43.038" v="3857" actId="20577"/>
        <pc:sldMkLst>
          <pc:docMk/>
          <pc:sldMk cId="3267775274" sldId="256"/>
        </pc:sldMkLst>
        <pc:spChg chg="mod">
          <ac:chgData name="Hitesh, Hitesh SBOBNG-PTIY/AEC" userId="4b40d14c-6959-4a04-b09b-037994df9ab1" providerId="ADAL" clId="{72CFDB71-B474-4F23-B71C-DA6680F3F07F}" dt="2024-09-04T03:29:08.813" v="3856" actId="20577"/>
          <ac:spMkLst>
            <pc:docMk/>
            <pc:sldMk cId="3267775274" sldId="256"/>
            <ac:spMk id="6" creationId="{0C37A4A8-A3C7-407F-B123-88E2E165C827}"/>
          </ac:spMkLst>
        </pc:spChg>
        <pc:spChg chg="mod">
          <ac:chgData name="Hitesh, Hitesh SBOBNG-PTIY/AEC" userId="4b40d14c-6959-4a04-b09b-037994df9ab1" providerId="ADAL" clId="{72CFDB71-B474-4F23-B71C-DA6680F3F07F}" dt="2024-09-04T03:29:43.038" v="3857" actId="20577"/>
          <ac:spMkLst>
            <pc:docMk/>
            <pc:sldMk cId="3267775274" sldId="256"/>
            <ac:spMk id="13" creationId="{C48F8DD6-A1B3-8126-FAC3-218B712C7FFB}"/>
          </ac:spMkLst>
        </pc:spChg>
      </pc:sldChg>
      <pc:sldChg chg="addSp modSp mod">
        <pc:chgData name="Hitesh, Hitesh SBOBNG-PTIY/AEC" userId="4b40d14c-6959-4a04-b09b-037994df9ab1" providerId="ADAL" clId="{72CFDB71-B474-4F23-B71C-DA6680F3F07F}" dt="2024-09-04T08:10:55.191" v="6260" actId="20577"/>
        <pc:sldMkLst>
          <pc:docMk/>
          <pc:sldMk cId="245881457" sldId="2147375597"/>
        </pc:sldMkLst>
        <pc:spChg chg="mod">
          <ac:chgData name="Hitesh, Hitesh SBOBNG-PTIY/AEC" userId="4b40d14c-6959-4a04-b09b-037994df9ab1" providerId="ADAL" clId="{72CFDB71-B474-4F23-B71C-DA6680F3F07F}" dt="2024-09-04T08:10:55.191" v="6260" actId="20577"/>
          <ac:spMkLst>
            <pc:docMk/>
            <pc:sldMk cId="245881457" sldId="2147375597"/>
            <ac:spMk id="2" creationId="{62AEE4DC-6FE4-5FAA-3BF0-9E51B9541760}"/>
          </ac:spMkLst>
        </pc:spChg>
        <pc:spChg chg="add mod">
          <ac:chgData name="Hitesh, Hitesh SBOBNG-PTIY/AEC" userId="4b40d14c-6959-4a04-b09b-037994df9ab1" providerId="ADAL" clId="{72CFDB71-B474-4F23-B71C-DA6680F3F07F}" dt="2024-09-04T03:58:10.206" v="4083" actId="571"/>
          <ac:spMkLst>
            <pc:docMk/>
            <pc:sldMk cId="245881457" sldId="2147375597"/>
            <ac:spMk id="5" creationId="{27F3DA86-14D2-30D8-BDC4-6777770E1743}"/>
          </ac:spMkLst>
        </pc:spChg>
        <pc:spChg chg="add mod">
          <ac:chgData name="Hitesh, Hitesh SBOBNG-PTIY/AEC" userId="4b40d14c-6959-4a04-b09b-037994df9ab1" providerId="ADAL" clId="{72CFDB71-B474-4F23-B71C-DA6680F3F07F}" dt="2024-09-04T05:20:43.693" v="4463" actId="1076"/>
          <ac:spMkLst>
            <pc:docMk/>
            <pc:sldMk cId="245881457" sldId="2147375597"/>
            <ac:spMk id="5" creationId="{57816196-028E-2AD7-B7E9-D3726E9832A2}"/>
          </ac:spMkLst>
        </pc:spChg>
        <pc:spChg chg="add mod">
          <ac:chgData name="Hitesh, Hitesh SBOBNG-PTIY/AEC" userId="4b40d14c-6959-4a04-b09b-037994df9ab1" providerId="ADAL" clId="{72CFDB71-B474-4F23-B71C-DA6680F3F07F}" dt="2024-09-04T05:48:49.865" v="4813"/>
          <ac:spMkLst>
            <pc:docMk/>
            <pc:sldMk cId="245881457" sldId="2147375597"/>
            <ac:spMk id="6" creationId="{AF1DEF1E-47CD-F7EA-05EA-B343CFE2C4BE}"/>
          </ac:spMkLst>
        </pc:spChg>
      </pc:sldChg>
      <pc:sldChg chg="addSp modSp del mod">
        <pc:chgData name="Hitesh, Hitesh SBOBNG-PTIY/AEC" userId="4b40d14c-6959-4a04-b09b-037994df9ab1" providerId="ADAL" clId="{72CFDB71-B474-4F23-B71C-DA6680F3F07F}" dt="2024-09-04T05:23:57.625" v="4648" actId="47"/>
        <pc:sldMkLst>
          <pc:docMk/>
          <pc:sldMk cId="1181112711" sldId="2147375600"/>
        </pc:sldMkLst>
        <pc:spChg chg="mod">
          <ac:chgData name="Hitesh, Hitesh SBOBNG-PTIY/AEC" userId="4b40d14c-6959-4a04-b09b-037994df9ab1" providerId="ADAL" clId="{72CFDB71-B474-4F23-B71C-DA6680F3F07F}" dt="2024-09-03T08:55:10.199" v="2916" actId="5793"/>
          <ac:spMkLst>
            <pc:docMk/>
            <pc:sldMk cId="1181112711" sldId="2147375600"/>
            <ac:spMk id="11" creationId="{DE9F1BE0-7910-FA1B-DCE8-56EFD1E4FC09}"/>
          </ac:spMkLst>
        </pc:spChg>
        <pc:graphicFrameChg chg="add mod modGraphic">
          <ac:chgData name="Hitesh, Hitesh SBOBNG-PTIY/AEC" userId="4b40d14c-6959-4a04-b09b-037994df9ab1" providerId="ADAL" clId="{72CFDB71-B474-4F23-B71C-DA6680F3F07F}" dt="2024-09-04T05:22:20.224" v="4519" actId="21"/>
          <ac:graphicFrameMkLst>
            <pc:docMk/>
            <pc:sldMk cId="1181112711" sldId="2147375600"/>
            <ac:graphicFrameMk id="2" creationId="{3630BAC8-2EB3-8429-AECF-16CF485EBC02}"/>
          </ac:graphicFrameMkLst>
        </pc:graphicFrameChg>
      </pc:sldChg>
      <pc:sldChg chg="new del">
        <pc:chgData name="Hitesh, Hitesh SBOBNG-PTIY/AEC" userId="4b40d14c-6959-4a04-b09b-037994df9ab1" providerId="ADAL" clId="{72CFDB71-B474-4F23-B71C-DA6680F3F07F}" dt="2024-09-03T05:46:34.855" v="789" actId="47"/>
        <pc:sldMkLst>
          <pc:docMk/>
          <pc:sldMk cId="1996218311" sldId="2147375601"/>
        </pc:sldMkLst>
      </pc:sldChg>
      <pc:sldChg chg="addSp delSp modSp add del mod">
        <pc:chgData name="Hitesh, Hitesh SBOBNG-PTIY/AEC" userId="4b40d14c-6959-4a04-b09b-037994df9ab1" providerId="ADAL" clId="{72CFDB71-B474-4F23-B71C-DA6680F3F07F}" dt="2024-09-04T05:25:00.991" v="4657" actId="47"/>
        <pc:sldMkLst>
          <pc:docMk/>
          <pc:sldMk cId="247023300" sldId="2147375602"/>
        </pc:sldMkLst>
        <pc:spChg chg="mod">
          <ac:chgData name="Hitesh, Hitesh SBOBNG-PTIY/AEC" userId="4b40d14c-6959-4a04-b09b-037994df9ab1" providerId="ADAL" clId="{72CFDB71-B474-4F23-B71C-DA6680F3F07F}" dt="2024-09-03T05:46:41.235" v="793" actId="20577"/>
          <ac:spMkLst>
            <pc:docMk/>
            <pc:sldMk cId="247023300" sldId="2147375602"/>
            <ac:spMk id="3" creationId="{CEA128C4-A0BC-A895-713C-306E7FF62894}"/>
          </ac:spMkLst>
        </pc:spChg>
        <pc:spChg chg="mod">
          <ac:chgData name="Hitesh, Hitesh SBOBNG-PTIY/AEC" userId="4b40d14c-6959-4a04-b09b-037994df9ab1" providerId="ADAL" clId="{72CFDB71-B474-4F23-B71C-DA6680F3F07F}" dt="2024-09-04T05:24:50.704" v="4654" actId="21"/>
          <ac:spMkLst>
            <pc:docMk/>
            <pc:sldMk cId="247023300" sldId="2147375602"/>
            <ac:spMk id="11" creationId="{DE9F1BE0-7910-FA1B-DCE8-56EFD1E4FC09}"/>
          </ac:spMkLst>
        </pc:spChg>
        <pc:graphicFrameChg chg="add del mod modGraphic">
          <ac:chgData name="Hitesh, Hitesh SBOBNG-PTIY/AEC" userId="4b40d14c-6959-4a04-b09b-037994df9ab1" providerId="ADAL" clId="{72CFDB71-B474-4F23-B71C-DA6680F3F07F}" dt="2024-09-04T05:21:41.098" v="4474" actId="478"/>
          <ac:graphicFrameMkLst>
            <pc:docMk/>
            <pc:sldMk cId="247023300" sldId="2147375602"/>
            <ac:graphicFrameMk id="2" creationId="{D4923250-4296-8C72-4D24-DAD333F64A19}"/>
          </ac:graphicFrameMkLst>
        </pc:graphicFrameChg>
      </pc:sldChg>
      <pc:sldChg chg="addSp modSp add del mod">
        <pc:chgData name="Hitesh, Hitesh SBOBNG-PTIY/AEC" userId="4b40d14c-6959-4a04-b09b-037994df9ab1" providerId="ADAL" clId="{72CFDB71-B474-4F23-B71C-DA6680F3F07F}" dt="2024-09-04T05:25:00.991" v="4657" actId="47"/>
        <pc:sldMkLst>
          <pc:docMk/>
          <pc:sldMk cId="27729771" sldId="2147375603"/>
        </pc:sldMkLst>
        <pc:spChg chg="mod">
          <ac:chgData name="Hitesh, Hitesh SBOBNG-PTIY/AEC" userId="4b40d14c-6959-4a04-b09b-037994df9ab1" providerId="ADAL" clId="{72CFDB71-B474-4F23-B71C-DA6680F3F07F}" dt="2024-09-03T08:53:34.012" v="2910" actId="20577"/>
          <ac:spMkLst>
            <pc:docMk/>
            <pc:sldMk cId="27729771" sldId="2147375603"/>
            <ac:spMk id="3" creationId="{CEA128C4-A0BC-A895-713C-306E7FF62894}"/>
          </ac:spMkLst>
        </pc:spChg>
        <pc:spChg chg="mod">
          <ac:chgData name="Hitesh, Hitesh SBOBNG-PTIY/AEC" userId="4b40d14c-6959-4a04-b09b-037994df9ab1" providerId="ADAL" clId="{72CFDB71-B474-4F23-B71C-DA6680F3F07F}" dt="2024-09-03T09:06:20.775" v="3744" actId="5793"/>
          <ac:spMkLst>
            <pc:docMk/>
            <pc:sldMk cId="27729771" sldId="2147375603"/>
            <ac:spMk id="11" creationId="{DE9F1BE0-7910-FA1B-DCE8-56EFD1E4FC09}"/>
          </ac:spMkLst>
        </pc:spChg>
        <pc:graphicFrameChg chg="add mod modGraphic">
          <ac:chgData name="Hitesh, Hitesh SBOBNG-PTIY/AEC" userId="4b40d14c-6959-4a04-b09b-037994df9ab1" providerId="ADAL" clId="{72CFDB71-B474-4F23-B71C-DA6680F3F07F}" dt="2024-09-04T05:24:18.100" v="4651" actId="21"/>
          <ac:graphicFrameMkLst>
            <pc:docMk/>
            <pc:sldMk cId="27729771" sldId="2147375603"/>
            <ac:graphicFrameMk id="2" creationId="{A7B7A8D2-0BAB-B586-3FD4-4FEA9D72091F}"/>
          </ac:graphicFrameMkLst>
        </pc:graphicFrameChg>
      </pc:sldChg>
      <pc:sldChg chg="modSp add del mod">
        <pc:chgData name="Hitesh, Hitesh SBOBNG-PTIY/AEC" userId="4b40d14c-6959-4a04-b09b-037994df9ab1" providerId="ADAL" clId="{72CFDB71-B474-4F23-B71C-DA6680F3F07F}" dt="2024-09-04T05:25:00.991" v="4657" actId="47"/>
        <pc:sldMkLst>
          <pc:docMk/>
          <pc:sldMk cId="3481054148" sldId="2147375604"/>
        </pc:sldMkLst>
        <pc:spChg chg="mod">
          <ac:chgData name="Hitesh, Hitesh SBOBNG-PTIY/AEC" userId="4b40d14c-6959-4a04-b09b-037994df9ab1" providerId="ADAL" clId="{72CFDB71-B474-4F23-B71C-DA6680F3F07F}" dt="2024-09-03T08:54:55.073" v="2914" actId="20577"/>
          <ac:spMkLst>
            <pc:docMk/>
            <pc:sldMk cId="3481054148" sldId="2147375604"/>
            <ac:spMk id="3" creationId="{CEA128C4-A0BC-A895-713C-306E7FF62894}"/>
          </ac:spMkLst>
        </pc:spChg>
        <pc:spChg chg="mod">
          <ac:chgData name="Hitesh, Hitesh SBOBNG-PTIY/AEC" userId="4b40d14c-6959-4a04-b09b-037994df9ab1" providerId="ADAL" clId="{72CFDB71-B474-4F23-B71C-DA6680F3F07F}" dt="2024-09-03T05:47:22.947" v="796" actId="20577"/>
          <ac:spMkLst>
            <pc:docMk/>
            <pc:sldMk cId="3481054148" sldId="2147375604"/>
            <ac:spMk id="11" creationId="{DE9F1BE0-7910-FA1B-DCE8-56EFD1E4FC09}"/>
          </ac:spMkLst>
        </pc:spChg>
      </pc:sldChg>
      <pc:sldChg chg="addSp delSp modSp add mod ord">
        <pc:chgData name="Hitesh, Hitesh SBOBNG-PTIY/AEC" userId="4b40d14c-6959-4a04-b09b-037994df9ab1" providerId="ADAL" clId="{72CFDB71-B474-4F23-B71C-DA6680F3F07F}" dt="2024-09-04T06:13:41.250" v="6207" actId="404"/>
        <pc:sldMkLst>
          <pc:docMk/>
          <pc:sldMk cId="2425867731" sldId="2147375605"/>
        </pc:sldMkLst>
        <pc:spChg chg="mod">
          <ac:chgData name="Hitesh, Hitesh SBOBNG-PTIY/AEC" userId="4b40d14c-6959-4a04-b09b-037994df9ab1" providerId="ADAL" clId="{72CFDB71-B474-4F23-B71C-DA6680F3F07F}" dt="2024-09-04T05:52:56.496" v="4882" actId="20577"/>
          <ac:spMkLst>
            <pc:docMk/>
            <pc:sldMk cId="2425867731" sldId="2147375605"/>
            <ac:spMk id="2" creationId="{62AEE4DC-6FE4-5FAA-3BF0-9E51B9541760}"/>
          </ac:spMkLst>
        </pc:spChg>
        <pc:spChg chg="mod">
          <ac:chgData name="Hitesh, Hitesh SBOBNG-PTIY/AEC" userId="4b40d14c-6959-4a04-b09b-037994df9ab1" providerId="ADAL" clId="{72CFDB71-B474-4F23-B71C-DA6680F3F07F}" dt="2024-09-04T06:13:41.250" v="6207" actId="404"/>
          <ac:spMkLst>
            <pc:docMk/>
            <pc:sldMk cId="2425867731" sldId="2147375605"/>
            <ac:spMk id="6" creationId="{AF1DEF1E-47CD-F7EA-05EA-B343CFE2C4BE}"/>
          </ac:spMkLst>
        </pc:spChg>
        <pc:picChg chg="add del">
          <ac:chgData name="Hitesh, Hitesh SBOBNG-PTIY/AEC" userId="4b40d14c-6959-4a04-b09b-037994df9ab1" providerId="ADAL" clId="{72CFDB71-B474-4F23-B71C-DA6680F3F07F}" dt="2024-09-04T05:53:00.055" v="4884" actId="22"/>
          <ac:picMkLst>
            <pc:docMk/>
            <pc:sldMk cId="2425867731" sldId="2147375605"/>
            <ac:picMk id="8" creationId="{FE336247-C0C8-865E-0867-335E7EB2CE0B}"/>
          </ac:picMkLst>
        </pc:picChg>
      </pc:sldChg>
      <pc:sldChg chg="modSp add del mod">
        <pc:chgData name="Hitesh, Hitesh SBOBNG-PTIY/AEC" userId="4b40d14c-6959-4a04-b09b-037994df9ab1" providerId="ADAL" clId="{72CFDB71-B474-4F23-B71C-DA6680F3F07F}" dt="2024-09-04T05:47:55.663" v="4810" actId="47"/>
        <pc:sldMkLst>
          <pc:docMk/>
          <pc:sldMk cId="3131497173" sldId="2147375606"/>
        </pc:sldMkLst>
        <pc:spChg chg="mod">
          <ac:chgData name="Hitesh, Hitesh SBOBNG-PTIY/AEC" userId="4b40d14c-6959-4a04-b09b-037994df9ab1" providerId="ADAL" clId="{72CFDB71-B474-4F23-B71C-DA6680F3F07F}" dt="2024-09-04T05:27:29.119" v="4676" actId="21"/>
          <ac:spMkLst>
            <pc:docMk/>
            <pc:sldMk cId="3131497173" sldId="2147375606"/>
            <ac:spMk id="2" creationId="{62AEE4DC-6FE4-5FAA-3BF0-9E51B9541760}"/>
          </ac:spMkLst>
        </pc:spChg>
        <pc:spChg chg="mod">
          <ac:chgData name="Hitesh, Hitesh SBOBNG-PTIY/AEC" userId="4b40d14c-6959-4a04-b09b-037994df9ab1" providerId="ADAL" clId="{72CFDB71-B474-4F23-B71C-DA6680F3F07F}" dt="2024-09-04T05:27:38.605" v="4681" actId="404"/>
          <ac:spMkLst>
            <pc:docMk/>
            <pc:sldMk cId="3131497173" sldId="2147375606"/>
            <ac:spMk id="6" creationId="{AF1DEF1E-47CD-F7EA-05EA-B343CFE2C4BE}"/>
          </ac:spMkLst>
        </pc:spChg>
      </pc:sldChg>
      <pc:sldChg chg="modSp add del mod">
        <pc:chgData name="Hitesh, Hitesh SBOBNG-PTIY/AEC" userId="4b40d14c-6959-4a04-b09b-037994df9ab1" providerId="ADAL" clId="{72CFDB71-B474-4F23-B71C-DA6680F3F07F}" dt="2024-09-04T05:50:14.142" v="4839" actId="47"/>
        <pc:sldMkLst>
          <pc:docMk/>
          <pc:sldMk cId="3101336136" sldId="2147375607"/>
        </pc:sldMkLst>
        <pc:spChg chg="mod">
          <ac:chgData name="Hitesh, Hitesh SBOBNG-PTIY/AEC" userId="4b40d14c-6959-4a04-b09b-037994df9ab1" providerId="ADAL" clId="{72CFDB71-B474-4F23-B71C-DA6680F3F07F}" dt="2024-09-04T05:49:29.418" v="4822" actId="21"/>
          <ac:spMkLst>
            <pc:docMk/>
            <pc:sldMk cId="3101336136" sldId="2147375607"/>
            <ac:spMk id="2" creationId="{62AEE4DC-6FE4-5FAA-3BF0-9E51B9541760}"/>
          </ac:spMkLst>
        </pc:spChg>
        <pc:spChg chg="mod">
          <ac:chgData name="Hitesh, Hitesh SBOBNG-PTIY/AEC" userId="4b40d14c-6959-4a04-b09b-037994df9ab1" providerId="ADAL" clId="{72CFDB71-B474-4F23-B71C-DA6680F3F07F}" dt="2024-09-04T05:24:57.284" v="4656" actId="20577"/>
          <ac:spMkLst>
            <pc:docMk/>
            <pc:sldMk cId="3101336136" sldId="2147375607"/>
            <ac:spMk id="6" creationId="{AF1DEF1E-47CD-F7EA-05EA-B343CFE2C4BE}"/>
          </ac:spMkLst>
        </pc:spChg>
      </pc:sldChg>
      <pc:sldChg chg="addSp delSp modSp new del mod">
        <pc:chgData name="Hitesh, Hitesh SBOBNG-PTIY/AEC" userId="4b40d14c-6959-4a04-b09b-037994df9ab1" providerId="ADAL" clId="{72CFDB71-B474-4F23-B71C-DA6680F3F07F}" dt="2024-09-04T05:42:48.815" v="4741" actId="47"/>
        <pc:sldMkLst>
          <pc:docMk/>
          <pc:sldMk cId="1238524059" sldId="2147375608"/>
        </pc:sldMkLst>
        <pc:spChg chg="add del mod">
          <ac:chgData name="Hitesh, Hitesh SBOBNG-PTIY/AEC" userId="4b40d14c-6959-4a04-b09b-037994df9ab1" providerId="ADAL" clId="{72CFDB71-B474-4F23-B71C-DA6680F3F07F}" dt="2024-09-04T05:42:41.568" v="4739" actId="22"/>
          <ac:spMkLst>
            <pc:docMk/>
            <pc:sldMk cId="1238524059" sldId="2147375608"/>
            <ac:spMk id="6" creationId="{C8BF2ADA-3CA6-4608-3073-79C32A690470}"/>
          </ac:spMkLst>
        </pc:spChg>
      </pc:sldChg>
      <pc:sldChg chg="addSp modSp add del mod ord">
        <pc:chgData name="Hitesh, Hitesh SBOBNG-PTIY/AEC" userId="4b40d14c-6959-4a04-b09b-037994df9ab1" providerId="ADAL" clId="{72CFDB71-B474-4F23-B71C-DA6680F3F07F}" dt="2024-09-04T06:12:44.118" v="6196" actId="2696"/>
        <pc:sldMkLst>
          <pc:docMk/>
          <pc:sldMk cId="479228673" sldId="2147375609"/>
        </pc:sldMkLst>
        <pc:spChg chg="mod">
          <ac:chgData name="Hitesh, Hitesh SBOBNG-PTIY/AEC" userId="4b40d14c-6959-4a04-b09b-037994df9ab1" providerId="ADAL" clId="{72CFDB71-B474-4F23-B71C-DA6680F3F07F}" dt="2024-09-04T05:45:55.015" v="4799" actId="20577"/>
          <ac:spMkLst>
            <pc:docMk/>
            <pc:sldMk cId="479228673" sldId="2147375609"/>
            <ac:spMk id="2" creationId="{62AEE4DC-6FE4-5FAA-3BF0-9E51B9541760}"/>
          </ac:spMkLst>
        </pc:spChg>
        <pc:spChg chg="add mod">
          <ac:chgData name="Hitesh, Hitesh SBOBNG-PTIY/AEC" userId="4b40d14c-6959-4a04-b09b-037994df9ab1" providerId="ADAL" clId="{72CFDB71-B474-4F23-B71C-DA6680F3F07F}" dt="2024-09-04T05:45:37.846" v="4798" actId="6549"/>
          <ac:spMkLst>
            <pc:docMk/>
            <pc:sldMk cId="479228673" sldId="2147375609"/>
            <ac:spMk id="5" creationId="{6E57615F-0C18-889C-4CFF-06745E2D36B0}"/>
          </ac:spMkLst>
        </pc:spChg>
        <pc:spChg chg="mod">
          <ac:chgData name="Hitesh, Hitesh SBOBNG-PTIY/AEC" userId="4b40d14c-6959-4a04-b09b-037994df9ab1" providerId="ADAL" clId="{72CFDB71-B474-4F23-B71C-DA6680F3F07F}" dt="2024-09-04T05:56:14.169" v="4907" actId="20577"/>
          <ac:spMkLst>
            <pc:docMk/>
            <pc:sldMk cId="479228673" sldId="2147375609"/>
            <ac:spMk id="6" creationId="{AF1DEF1E-47CD-F7EA-05EA-B343CFE2C4BE}"/>
          </ac:spMkLst>
        </pc:spChg>
      </pc:sldChg>
      <pc:sldChg chg="add">
        <pc:chgData name="Hitesh, Hitesh SBOBNG-PTIY/AEC" userId="4b40d14c-6959-4a04-b09b-037994df9ab1" providerId="ADAL" clId="{72CFDB71-B474-4F23-B71C-DA6680F3F07F}" dt="2024-09-04T06:12:52.743" v="6197"/>
        <pc:sldMkLst>
          <pc:docMk/>
          <pc:sldMk cId="4138284177" sldId="2147375609"/>
        </pc:sldMkLst>
      </pc:sldChg>
      <pc:sldChg chg="add del">
        <pc:chgData name="Hitesh, Hitesh SBOBNG-PTIY/AEC" userId="4b40d14c-6959-4a04-b09b-037994df9ab1" providerId="ADAL" clId="{72CFDB71-B474-4F23-B71C-DA6680F3F07F}" dt="2024-09-04T05:43:04.739" v="4743"/>
        <pc:sldMkLst>
          <pc:docMk/>
          <pc:sldMk cId="442697003" sldId="2147375610"/>
        </pc:sldMkLst>
      </pc:sldChg>
      <pc:sldChg chg="new del">
        <pc:chgData name="Hitesh, Hitesh SBOBNG-PTIY/AEC" userId="4b40d14c-6959-4a04-b09b-037994df9ab1" providerId="ADAL" clId="{72CFDB71-B474-4F23-B71C-DA6680F3F07F}" dt="2024-09-04T05:59:51.343" v="4908" actId="47"/>
        <pc:sldMkLst>
          <pc:docMk/>
          <pc:sldMk cId="2920969972" sldId="2147375610"/>
        </pc:sldMkLst>
      </pc:sldChg>
      <pc:sldChg chg="add">
        <pc:chgData name="Hitesh, Hitesh SBOBNG-PTIY/AEC" userId="4b40d14c-6959-4a04-b09b-037994df9ab1" providerId="ADAL" clId="{72CFDB71-B474-4F23-B71C-DA6680F3F07F}" dt="2024-09-04T06:12:52.743" v="6197"/>
        <pc:sldMkLst>
          <pc:docMk/>
          <pc:sldMk cId="496066721" sldId="2147375611"/>
        </pc:sldMkLst>
      </pc:sldChg>
      <pc:sldChg chg="addSp delSp modSp add del mod ord">
        <pc:chgData name="Hitesh, Hitesh SBOBNG-PTIY/AEC" userId="4b40d14c-6959-4a04-b09b-037994df9ab1" providerId="ADAL" clId="{72CFDB71-B474-4F23-B71C-DA6680F3F07F}" dt="2024-09-04T06:12:44.118" v="6196" actId="2696"/>
        <pc:sldMkLst>
          <pc:docMk/>
          <pc:sldMk cId="3832620116" sldId="2147375611"/>
        </pc:sldMkLst>
        <pc:spChg chg="del mod">
          <ac:chgData name="Hitesh, Hitesh SBOBNG-PTIY/AEC" userId="4b40d14c-6959-4a04-b09b-037994df9ab1" providerId="ADAL" clId="{72CFDB71-B474-4F23-B71C-DA6680F3F07F}" dt="2024-09-04T05:53:40.429" v="4896" actId="478"/>
          <ac:spMkLst>
            <pc:docMk/>
            <pc:sldMk cId="3832620116" sldId="2147375611"/>
            <ac:spMk id="2" creationId="{62AEE4DC-6FE4-5FAA-3BF0-9E51B9541760}"/>
          </ac:spMkLst>
        </pc:spChg>
        <pc:spChg chg="del mod">
          <ac:chgData name="Hitesh, Hitesh SBOBNG-PTIY/AEC" userId="4b40d14c-6959-4a04-b09b-037994df9ab1" providerId="ADAL" clId="{72CFDB71-B474-4F23-B71C-DA6680F3F07F}" dt="2024-09-04T05:53:40.429" v="4896" actId="478"/>
          <ac:spMkLst>
            <pc:docMk/>
            <pc:sldMk cId="3832620116" sldId="2147375611"/>
            <ac:spMk id="6" creationId="{AF1DEF1E-47CD-F7EA-05EA-B343CFE2C4BE}"/>
          </ac:spMkLst>
        </pc:spChg>
        <pc:picChg chg="add mod">
          <ac:chgData name="Hitesh, Hitesh SBOBNG-PTIY/AEC" userId="4b40d14c-6959-4a04-b09b-037994df9ab1" providerId="ADAL" clId="{72CFDB71-B474-4F23-B71C-DA6680F3F07F}" dt="2024-09-04T05:54:00.027" v="4899" actId="1076"/>
          <ac:picMkLst>
            <pc:docMk/>
            <pc:sldMk cId="3832620116" sldId="2147375611"/>
            <ac:picMk id="8" creationId="{6837EAA1-EAF8-E085-180E-A7A2DC49B947}"/>
          </ac:picMkLst>
        </pc:picChg>
      </pc:sldChg>
      <pc:sldChg chg="add del">
        <pc:chgData name="Hitesh, Hitesh SBOBNG-PTIY/AEC" userId="4b40d14c-6959-4a04-b09b-037994df9ab1" providerId="ADAL" clId="{72CFDB71-B474-4F23-B71C-DA6680F3F07F}" dt="2024-09-04T05:53:14.325" v="4890"/>
        <pc:sldMkLst>
          <pc:docMk/>
          <pc:sldMk cId="506914407" sldId="2147375612"/>
        </pc:sldMkLst>
      </pc:sldChg>
      <pc:sldChg chg="modSp add mod ord">
        <pc:chgData name="Hitesh, Hitesh SBOBNG-PTIY/AEC" userId="4b40d14c-6959-4a04-b09b-037994df9ab1" providerId="ADAL" clId="{72CFDB71-B474-4F23-B71C-DA6680F3F07F}" dt="2024-09-04T06:12:12.212" v="6193" actId="20577"/>
        <pc:sldMkLst>
          <pc:docMk/>
          <pc:sldMk cId="3277868491" sldId="2147375612"/>
        </pc:sldMkLst>
        <pc:spChg chg="mod">
          <ac:chgData name="Hitesh, Hitesh SBOBNG-PTIY/AEC" userId="4b40d14c-6959-4a04-b09b-037994df9ab1" providerId="ADAL" clId="{72CFDB71-B474-4F23-B71C-DA6680F3F07F}" dt="2024-09-04T06:11:25.583" v="6192" actId="14"/>
          <ac:spMkLst>
            <pc:docMk/>
            <pc:sldMk cId="3277868491" sldId="2147375612"/>
            <ac:spMk id="2" creationId="{62AEE4DC-6FE4-5FAA-3BF0-9E51B9541760}"/>
          </ac:spMkLst>
        </pc:spChg>
        <pc:spChg chg="mod">
          <ac:chgData name="Hitesh, Hitesh SBOBNG-PTIY/AEC" userId="4b40d14c-6959-4a04-b09b-037994df9ab1" providerId="ADAL" clId="{72CFDB71-B474-4F23-B71C-DA6680F3F07F}" dt="2024-09-04T06:12:12.212" v="6193" actId="20577"/>
          <ac:spMkLst>
            <pc:docMk/>
            <pc:sldMk cId="3277868491" sldId="2147375612"/>
            <ac:spMk id="6" creationId="{AF1DEF1E-47CD-F7EA-05EA-B343CFE2C4B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4.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 – TECHNICAL FOUNDATION</a:t>
            </a:r>
            <a:br>
              <a:rPr lang="en-US" sz="4000" dirty="0"/>
            </a:br>
            <a:r>
              <a:rPr lang="en-US" sz="4000" dirty="0"/>
              <a:t>Reflections for Day 6 (05-Sep-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a:t>
            </a:r>
            <a:r>
              <a:rPr lang="en-IN" sz="2800" b="1">
                <a:solidFill>
                  <a:schemeClr val="bg1"/>
                </a:solidFill>
              </a:rPr>
              <a:t>- 06-Sep-2024</a:t>
            </a:r>
            <a:endParaRPr lang="en-IN" sz="2800" b="1" dirty="0">
              <a:solidFill>
                <a:schemeClr val="bg1"/>
              </a:solidFill>
            </a:endParaRP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latin typeface="Aptos" panose="020B0004020202020204" pitchFamily="34" charset="0"/>
              </a:rPr>
              <a:t>Cloud Scalability and Elasticity</a:t>
            </a:r>
          </a:p>
          <a:p>
            <a:pPr lvl="1"/>
            <a:r>
              <a:rPr lang="en-US" sz="1400" b="1" dirty="0">
                <a:latin typeface="Aptos" panose="020B0004020202020204" pitchFamily="34" charset="0"/>
              </a:rPr>
              <a:t>Scalability:</a:t>
            </a:r>
            <a:endParaRPr lang="en-US" sz="1400" dirty="0">
              <a:latin typeface="Aptos" panose="020B0004020202020204" pitchFamily="34" charset="0"/>
            </a:endParaRPr>
          </a:p>
          <a:p>
            <a:pPr marL="1200150" lvl="2" indent="-285750"/>
            <a:r>
              <a:rPr lang="en-US" sz="1400" dirty="0">
                <a:latin typeface="Aptos" panose="020B0004020202020204" pitchFamily="34" charset="0"/>
              </a:rPr>
              <a:t>The ability to increase resources based on demand, either by scaling up (adding more power to an existing resource) or scaling out (adding more instances).</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dding more virtual machines during high traffic.</a:t>
            </a:r>
          </a:p>
          <a:p>
            <a:pPr lvl="1"/>
            <a:r>
              <a:rPr lang="en-US" sz="1400" b="1" dirty="0">
                <a:latin typeface="Aptos" panose="020B0004020202020204" pitchFamily="34" charset="0"/>
              </a:rPr>
              <a:t>Elasticity:</a:t>
            </a:r>
            <a:endParaRPr lang="en-US" sz="1400" dirty="0">
              <a:latin typeface="Aptos" panose="020B0004020202020204" pitchFamily="34" charset="0"/>
            </a:endParaRPr>
          </a:p>
          <a:p>
            <a:pPr marL="1200150" lvl="2" indent="-285750"/>
            <a:r>
              <a:rPr lang="en-US" sz="1400" dirty="0">
                <a:latin typeface="Aptos" panose="020B0004020202020204" pitchFamily="34" charset="0"/>
              </a:rPr>
              <a:t>The ability to automatically adjust resources based on real-time demand, scaling both up and down.</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utomatically reducing server instances during off-peak hours.</a:t>
            </a:r>
          </a:p>
          <a:p>
            <a:r>
              <a:rPr lang="en-US" sz="1400" b="1" dirty="0">
                <a:latin typeface="Aptos" panose="020B0004020202020204" pitchFamily="34" charset="0"/>
              </a:rPr>
              <a:t>Cloud Services</a:t>
            </a:r>
          </a:p>
          <a:p>
            <a:pPr lvl="1"/>
            <a:r>
              <a:rPr lang="en-US" sz="1400" b="1" dirty="0">
                <a:latin typeface="Aptos" panose="020B0004020202020204" pitchFamily="34" charset="0"/>
              </a:rPr>
              <a:t>Compute Services:</a:t>
            </a:r>
            <a:endParaRPr lang="en-US" sz="1400" dirty="0">
              <a:latin typeface="Aptos" panose="020B0004020202020204" pitchFamily="34" charset="0"/>
            </a:endParaRPr>
          </a:p>
          <a:p>
            <a:pPr marL="1200150" lvl="2" indent="-285750"/>
            <a:r>
              <a:rPr lang="en-US" sz="1400" dirty="0">
                <a:latin typeface="Aptos" panose="020B0004020202020204" pitchFamily="34" charset="0"/>
              </a:rPr>
              <a:t>Provide processing power and memory resources.</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WS EC2, Google Compute Engine.</a:t>
            </a:r>
          </a:p>
          <a:p>
            <a:pPr lvl="1"/>
            <a:r>
              <a:rPr lang="en-US" sz="1400" b="1" dirty="0">
                <a:latin typeface="Aptos" panose="020B0004020202020204" pitchFamily="34" charset="0"/>
              </a:rPr>
              <a:t>Storage Services:</a:t>
            </a:r>
            <a:endParaRPr lang="en-US" sz="1400" dirty="0">
              <a:latin typeface="Aptos" panose="020B0004020202020204" pitchFamily="34" charset="0"/>
            </a:endParaRPr>
          </a:p>
          <a:p>
            <a:pPr marL="1200150" lvl="2" indent="-285750"/>
            <a:r>
              <a:rPr lang="en-US" sz="1400" dirty="0">
                <a:latin typeface="Aptos" panose="020B0004020202020204" pitchFamily="34" charset="0"/>
              </a:rPr>
              <a:t>Offer various data storage options such as object, block, or file storage.</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mazon S3, Azure Blob Storage.</a:t>
            </a:r>
          </a:p>
          <a:p>
            <a:pPr lvl="1"/>
            <a:r>
              <a:rPr lang="en-US" sz="1400" b="1" dirty="0">
                <a:latin typeface="Aptos" panose="020B0004020202020204" pitchFamily="34" charset="0"/>
              </a:rPr>
              <a:t>Networking Services:</a:t>
            </a:r>
            <a:endParaRPr lang="en-US" sz="1400" dirty="0">
              <a:latin typeface="Aptos" panose="020B0004020202020204" pitchFamily="34" charset="0"/>
            </a:endParaRPr>
          </a:p>
          <a:p>
            <a:pPr marL="1200150" lvl="2" indent="-285750"/>
            <a:r>
              <a:rPr lang="en-US" sz="1400" dirty="0">
                <a:latin typeface="Aptos" panose="020B0004020202020204" pitchFamily="34" charset="0"/>
              </a:rPr>
              <a:t>Manage networking resources like VPNs, load balancers, and domain name systems.</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WS VPC, Google Cloud Load Balancing.</a:t>
            </a:r>
          </a:p>
          <a:p>
            <a:r>
              <a:rPr lang="en-US" sz="1400" b="1" dirty="0">
                <a:latin typeface="Aptos" panose="020B0004020202020204" pitchFamily="34" charset="0"/>
              </a:rPr>
              <a:t>Scalability and Flexibility</a:t>
            </a:r>
          </a:p>
          <a:p>
            <a:pPr lvl="1"/>
            <a:r>
              <a:rPr lang="en-US" sz="1400" b="1" dirty="0">
                <a:latin typeface="Aptos" panose="020B0004020202020204" pitchFamily="34" charset="0"/>
              </a:rPr>
              <a:t>Scalability:</a:t>
            </a:r>
            <a:endParaRPr lang="en-US" sz="1400" dirty="0">
              <a:latin typeface="Aptos" panose="020B0004020202020204" pitchFamily="34" charset="0"/>
            </a:endParaRPr>
          </a:p>
          <a:p>
            <a:pPr marL="1200150" lvl="2" indent="-285750"/>
            <a:r>
              <a:rPr lang="en-US" sz="1400" dirty="0">
                <a:latin typeface="Aptos" panose="020B0004020202020204" pitchFamily="34" charset="0"/>
              </a:rPr>
              <a:t>Allows organizations to scale resources up or down as needed, efficiently managing costs and performance.</a:t>
            </a:r>
          </a:p>
          <a:p>
            <a:pPr lvl="1"/>
            <a:r>
              <a:rPr lang="en-US" sz="1400" b="1" dirty="0">
                <a:latin typeface="Aptos" panose="020B0004020202020204" pitchFamily="34" charset="0"/>
              </a:rPr>
              <a:t>Flexibility:</a:t>
            </a:r>
            <a:endParaRPr lang="en-US" sz="1400" dirty="0">
              <a:latin typeface="Aptos" panose="020B0004020202020204" pitchFamily="34" charset="0"/>
            </a:endParaRPr>
          </a:p>
          <a:p>
            <a:pPr marL="1200150" lvl="2" indent="-285750"/>
            <a:r>
              <a:rPr lang="en-US" sz="1400" dirty="0">
                <a:latin typeface="Aptos" panose="020B0004020202020204" pitchFamily="34" charset="0"/>
              </a:rPr>
              <a:t>Provides the ability to choose the right mix of cloud services, enabling businesses to respond quickly to changing needs.</a:t>
            </a:r>
          </a:p>
        </p:txBody>
      </p:sp>
    </p:spTree>
    <p:extLst>
      <p:ext uri="{BB962C8B-B14F-4D97-AF65-F5344CB8AC3E}">
        <p14:creationId xmlns:p14="http://schemas.microsoft.com/office/powerpoint/2010/main" val="607687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a:spcBef>
                <a:spcPts val="0"/>
              </a:spcBef>
            </a:pPr>
            <a:r>
              <a:rPr lang="en-US" sz="1400" b="1" kern="1200" dirty="0">
                <a:solidFill>
                  <a:srgbClr val="000000"/>
                </a:solidFill>
                <a:effectLst/>
                <a:latin typeface="Aptos" panose="020B0004020202020204" pitchFamily="34" charset="0"/>
              </a:rPr>
              <a:t>Global Reach</a:t>
            </a:r>
            <a:endParaRPr lang="en-US" sz="1400" dirty="0">
              <a:effectLst/>
              <a:latin typeface="Aptos" panose="020B0004020202020204" pitchFamily="34" charset="0"/>
            </a:endParaRPr>
          </a:p>
          <a:p>
            <a:pPr marL="1197864" lvl="1" indent="-283464">
              <a:spcBef>
                <a:spcPts val="0"/>
              </a:spcBef>
            </a:pPr>
            <a:r>
              <a:rPr lang="en-US" sz="1400" kern="1200" dirty="0">
                <a:solidFill>
                  <a:srgbClr val="000000"/>
                </a:solidFill>
                <a:effectLst/>
                <a:latin typeface="Aptos" panose="020B0004020202020204" pitchFamily="34" charset="0"/>
              </a:rPr>
              <a:t>Cloud providers offer services through data centers located worldwide, allowing businesses to deploy applications closer to users for better performance.</a:t>
            </a:r>
            <a:endParaRPr lang="en-US" sz="1400" dirty="0">
              <a:effectLst/>
              <a:latin typeface="Aptos" panose="020B0004020202020204" pitchFamily="34" charset="0"/>
            </a:endParaRPr>
          </a:p>
          <a:p>
            <a:pPr marL="1197864" lvl="1" indent="-283464">
              <a:spcBef>
                <a:spcPts val="0"/>
              </a:spcBef>
            </a:pPr>
            <a:r>
              <a:rPr lang="en-US" sz="1400" b="1" kern="1200" dirty="0">
                <a:solidFill>
                  <a:srgbClr val="000000"/>
                </a:solidFill>
                <a:effectLst/>
                <a:latin typeface="Aptos" panose="020B0004020202020204" pitchFamily="34" charset="0"/>
              </a:rPr>
              <a:t>Example:</a:t>
            </a:r>
            <a:r>
              <a:rPr lang="en-US" sz="1400" kern="1200" dirty="0">
                <a:solidFill>
                  <a:srgbClr val="000000"/>
                </a:solidFill>
                <a:effectLst/>
                <a:latin typeface="Aptos" panose="020B0004020202020204" pitchFamily="34" charset="0"/>
              </a:rPr>
              <a:t> AWS, Azure, and Google Cloud have data centers in multiple regions across the globe.</a:t>
            </a:r>
            <a:endParaRPr lang="en-US" sz="1400" dirty="0">
              <a:effectLst/>
              <a:latin typeface="Aptos" panose="020B0004020202020204" pitchFamily="34" charset="0"/>
            </a:endParaRPr>
          </a:p>
        </p:txBody>
      </p:sp>
      <p:pic>
        <p:nvPicPr>
          <p:cNvPr id="7170" name="Picture 2" descr="What Is Cloud Computing? Definition, Benefits, Types, and Trends -  Spiceworks">
            <a:extLst>
              <a:ext uri="{FF2B5EF4-FFF2-40B4-BE49-F238E27FC236}">
                <a16:creationId xmlns:a16="http://schemas.microsoft.com/office/drawing/2014/main" id="{9A1CCC88-23D2-F988-A203-72C835C891A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266562" y="2052937"/>
            <a:ext cx="4009794" cy="36923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2099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latin typeface="Aptos" panose="020B0004020202020204" pitchFamily="34" charset="0"/>
              </a:rPr>
              <a:t>Cloud Computing</a:t>
            </a:r>
          </a:p>
          <a:p>
            <a:pPr lvl="1"/>
            <a:r>
              <a:rPr lang="en-US" sz="1400" b="1" dirty="0">
                <a:latin typeface="Aptos" panose="020B0004020202020204" pitchFamily="34" charset="0"/>
              </a:rPr>
              <a:t>Cloud Computing</a:t>
            </a:r>
            <a:r>
              <a:rPr lang="en-US" sz="1400" dirty="0">
                <a:latin typeface="Aptos" panose="020B0004020202020204" pitchFamily="34" charset="0"/>
              </a:rPr>
              <a:t> is the delivery of computing services—including servers, storage, databases, networking, software, and analytics—over the internet ("the cloud"). This allows for flexible resources, faster innovation, and economies of scale, enabling users to access and pay for only the resources they need when they need them.</a:t>
            </a:r>
          </a:p>
          <a:p>
            <a:r>
              <a:rPr lang="en-US" sz="1400" b="1" dirty="0">
                <a:latin typeface="Aptos" panose="020B0004020202020204" pitchFamily="34" charset="0"/>
              </a:rPr>
              <a:t>Key Characteristics of Cloud Computing</a:t>
            </a:r>
          </a:p>
          <a:p>
            <a:pPr lvl="1"/>
            <a:r>
              <a:rPr lang="en-US" sz="1400" b="1" dirty="0">
                <a:latin typeface="Aptos" panose="020B0004020202020204" pitchFamily="34" charset="0"/>
              </a:rPr>
              <a:t>On-Demand Self-Service:</a:t>
            </a:r>
            <a:endParaRPr lang="en-US" sz="1400" dirty="0">
              <a:latin typeface="Aptos" panose="020B0004020202020204" pitchFamily="34" charset="0"/>
            </a:endParaRPr>
          </a:p>
          <a:p>
            <a:pPr marL="1200150" lvl="2" indent="-285750"/>
            <a:r>
              <a:rPr lang="en-US" sz="1400" dirty="0">
                <a:latin typeface="Aptos" panose="020B0004020202020204" pitchFamily="34" charset="0"/>
              </a:rPr>
              <a:t>Users can provision computing resources like server time and storage as needed, without requiring human interaction with each service provider.</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 developer can instantly create a virtual server on AWS without contacting support.</a:t>
            </a:r>
          </a:p>
          <a:p>
            <a:pPr lvl="1"/>
            <a:r>
              <a:rPr lang="en-US" sz="1400" b="1" dirty="0">
                <a:latin typeface="Aptos" panose="020B0004020202020204" pitchFamily="34" charset="0"/>
              </a:rPr>
              <a:t>Resource Pooling:</a:t>
            </a:r>
            <a:endParaRPr lang="en-US" sz="1400" dirty="0">
              <a:latin typeface="Aptos" panose="020B0004020202020204" pitchFamily="34" charset="0"/>
            </a:endParaRPr>
          </a:p>
          <a:p>
            <a:pPr marL="1200150" lvl="2" indent="-285750"/>
            <a:r>
              <a:rPr lang="en-US" sz="1400" dirty="0">
                <a:latin typeface="Aptos" panose="020B0004020202020204" pitchFamily="34" charset="0"/>
              </a:rPr>
              <a:t>Cloud providers serve multiple customers from shared resources dynamically assigned and reassigned according to demand.</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 cloud data center hosts resources for multiple organizations, optimizing usage.</a:t>
            </a:r>
          </a:p>
          <a:p>
            <a:pPr lvl="1"/>
            <a:r>
              <a:rPr lang="en-US" sz="1400" b="1" dirty="0">
                <a:latin typeface="Aptos" panose="020B0004020202020204" pitchFamily="34" charset="0"/>
              </a:rPr>
              <a:t>Broad Network Access:</a:t>
            </a:r>
            <a:endParaRPr lang="en-US" sz="1400" dirty="0">
              <a:latin typeface="Aptos" panose="020B0004020202020204" pitchFamily="34" charset="0"/>
            </a:endParaRPr>
          </a:p>
          <a:p>
            <a:pPr marL="1200150" lvl="2" indent="-285750"/>
            <a:r>
              <a:rPr lang="en-US" sz="1400" dirty="0">
                <a:latin typeface="Aptos" panose="020B0004020202020204" pitchFamily="34" charset="0"/>
              </a:rPr>
              <a:t>Resources are accessible over the network via standard mechanisms, promoting use across a variety of devices (e.g., laptops, mobile phones).</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Google Drive can be accessed from any internet-connected device.</a:t>
            </a:r>
          </a:p>
          <a:p>
            <a:pPr lvl="1"/>
            <a:r>
              <a:rPr lang="en-US" sz="1400" b="1" dirty="0">
                <a:latin typeface="Aptos" panose="020B0004020202020204" pitchFamily="34" charset="0"/>
              </a:rPr>
              <a:t>Rapid Elasticity:</a:t>
            </a:r>
            <a:endParaRPr lang="en-US" sz="1400" dirty="0">
              <a:latin typeface="Aptos" panose="020B0004020202020204" pitchFamily="34" charset="0"/>
            </a:endParaRPr>
          </a:p>
          <a:p>
            <a:pPr marL="1200150" lvl="2" indent="-285750"/>
            <a:r>
              <a:rPr lang="en-US" sz="1400" dirty="0">
                <a:latin typeface="Aptos" panose="020B0004020202020204" pitchFamily="34" charset="0"/>
              </a:rPr>
              <a:t>Resources can be elastically provisioned and released to scale rapidly with demand, appearing unlimited to the user.</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n e-commerce website can scale up resources during high-traffic events like Black Friday.</a:t>
            </a:r>
          </a:p>
          <a:p>
            <a:pPr marL="742950" lvl="1" indent="-285750"/>
            <a:endParaRPr lang="en-US" sz="1400" dirty="0">
              <a:latin typeface="Aptos" panose="020B0004020202020204" pitchFamily="34" charset="0"/>
            </a:endParaRPr>
          </a:p>
        </p:txBody>
      </p:sp>
    </p:spTree>
    <p:extLst>
      <p:ext uri="{BB962C8B-B14F-4D97-AF65-F5344CB8AC3E}">
        <p14:creationId xmlns:p14="http://schemas.microsoft.com/office/powerpoint/2010/main" val="32832083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2050" name="Picture 2" descr="Stay Ahead With Our Cloud Computing Trends and Benefits Guide!">
            <a:extLst>
              <a:ext uri="{FF2B5EF4-FFF2-40B4-BE49-F238E27FC236}">
                <a16:creationId xmlns:a16="http://schemas.microsoft.com/office/drawing/2014/main" id="{2641EAED-1E8A-0AE9-2C93-4B2AC3D84B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3689" y="1724122"/>
            <a:ext cx="7620000" cy="4057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1767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51265"/>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latin typeface="Aptos" panose="020B0004020202020204" pitchFamily="34" charset="0"/>
              </a:rPr>
              <a:t>Benefits of Cloud Computing</a:t>
            </a:r>
          </a:p>
          <a:p>
            <a:pPr lvl="1"/>
            <a:r>
              <a:rPr lang="en-US" sz="1400" b="1" dirty="0">
                <a:latin typeface="Aptos" panose="020B0004020202020204" pitchFamily="34" charset="0"/>
              </a:rPr>
              <a:t>Cost Efficiency:</a:t>
            </a:r>
            <a:endParaRPr lang="en-US" sz="1400" dirty="0">
              <a:latin typeface="Aptos" panose="020B0004020202020204" pitchFamily="34" charset="0"/>
            </a:endParaRPr>
          </a:p>
          <a:p>
            <a:pPr marL="1200150" lvl="2" indent="-285750"/>
            <a:r>
              <a:rPr lang="en-US" sz="1400" dirty="0">
                <a:latin typeface="Aptos" panose="020B0004020202020204" pitchFamily="34" charset="0"/>
              </a:rPr>
              <a:t>Pay only for the resources used, reducing the need for large upfront investments.</a:t>
            </a:r>
          </a:p>
          <a:p>
            <a:pPr lvl="1"/>
            <a:r>
              <a:rPr lang="en-US" sz="1400" b="1" dirty="0">
                <a:latin typeface="Aptos" panose="020B0004020202020204" pitchFamily="34" charset="0"/>
              </a:rPr>
              <a:t>Scalability:</a:t>
            </a:r>
            <a:endParaRPr lang="en-US" sz="1400" dirty="0">
              <a:latin typeface="Aptos" panose="020B0004020202020204" pitchFamily="34" charset="0"/>
            </a:endParaRPr>
          </a:p>
          <a:p>
            <a:pPr marL="1200150" lvl="2" indent="-285750"/>
            <a:r>
              <a:rPr lang="en-US" sz="1400" dirty="0">
                <a:latin typeface="Aptos" panose="020B0004020202020204" pitchFamily="34" charset="0"/>
              </a:rPr>
              <a:t>Easily scale resources up or down based on demand.</a:t>
            </a:r>
          </a:p>
          <a:p>
            <a:pPr lvl="1"/>
            <a:r>
              <a:rPr lang="en-US" sz="1400" b="1" dirty="0">
                <a:latin typeface="Aptos" panose="020B0004020202020204" pitchFamily="34" charset="0"/>
              </a:rPr>
              <a:t>Flexibility:</a:t>
            </a:r>
            <a:endParaRPr lang="en-US" sz="1400" dirty="0">
              <a:latin typeface="Aptos" panose="020B0004020202020204" pitchFamily="34" charset="0"/>
            </a:endParaRPr>
          </a:p>
          <a:p>
            <a:pPr marL="1200150" lvl="2" indent="-285750"/>
            <a:r>
              <a:rPr lang="en-US" sz="1400" dirty="0">
                <a:latin typeface="Aptos" panose="020B0004020202020204" pitchFamily="34" charset="0"/>
              </a:rPr>
              <a:t>Access services from anywhere with an internet connection.</a:t>
            </a:r>
          </a:p>
          <a:p>
            <a:pPr lvl="1"/>
            <a:r>
              <a:rPr lang="en-US" sz="1400" b="1" dirty="0">
                <a:latin typeface="Aptos" panose="020B0004020202020204" pitchFamily="34" charset="0"/>
              </a:rPr>
              <a:t>Disaster Recovery:</a:t>
            </a:r>
            <a:endParaRPr lang="en-US" sz="1400" dirty="0">
              <a:latin typeface="Aptos" panose="020B0004020202020204" pitchFamily="34" charset="0"/>
            </a:endParaRPr>
          </a:p>
          <a:p>
            <a:pPr marL="1200150" lvl="2" indent="-285750"/>
            <a:r>
              <a:rPr lang="en-US" sz="1400" dirty="0">
                <a:latin typeface="Aptos" panose="020B0004020202020204" pitchFamily="34" charset="0"/>
              </a:rPr>
              <a:t>Automatic backups and recovery options ensure business continuity.</a:t>
            </a:r>
          </a:p>
          <a:p>
            <a:pPr lvl="1"/>
            <a:r>
              <a:rPr lang="en-US" sz="1400" b="1" dirty="0">
                <a:latin typeface="Aptos" panose="020B0004020202020204" pitchFamily="34" charset="0"/>
              </a:rPr>
              <a:t>Automatic Updates:</a:t>
            </a:r>
            <a:endParaRPr lang="en-US" sz="1400" dirty="0">
              <a:latin typeface="Aptos" panose="020B0004020202020204" pitchFamily="34" charset="0"/>
            </a:endParaRPr>
          </a:p>
          <a:p>
            <a:pPr marL="1200150" lvl="2" indent="-285750"/>
            <a:r>
              <a:rPr lang="en-US" sz="1400" dirty="0">
                <a:latin typeface="Aptos" panose="020B0004020202020204" pitchFamily="34" charset="0"/>
              </a:rPr>
              <a:t>Providers handle software updates, reducing maintenance work for users.</a:t>
            </a:r>
          </a:p>
          <a:p>
            <a:r>
              <a:rPr lang="en-US" sz="1400" b="1" dirty="0">
                <a:latin typeface="Aptos" panose="020B0004020202020204" pitchFamily="34" charset="0"/>
              </a:rPr>
              <a:t>Cloud Service Models</a:t>
            </a:r>
          </a:p>
          <a:p>
            <a:pPr lvl="1">
              <a:buFont typeface="+mj-lt"/>
              <a:buAutoNum type="arabicPeriod"/>
            </a:pPr>
            <a:r>
              <a:rPr lang="en-US" sz="1400" b="1" dirty="0">
                <a:latin typeface="Aptos" panose="020B0004020202020204" pitchFamily="34" charset="0"/>
              </a:rPr>
              <a:t>IaaS (Infrastructure as a Service):</a:t>
            </a:r>
            <a:endParaRPr lang="en-US" sz="1400" dirty="0">
              <a:latin typeface="Aptos" panose="020B0004020202020204" pitchFamily="34" charset="0"/>
            </a:endParaRPr>
          </a:p>
          <a:p>
            <a:pPr marL="1200150" lvl="2" indent="-285750">
              <a:buFont typeface="+mj-lt"/>
              <a:buAutoNum type="arabicPeriod"/>
            </a:pPr>
            <a:r>
              <a:rPr lang="en-US" sz="1400" dirty="0">
                <a:latin typeface="Aptos" panose="020B0004020202020204" pitchFamily="34" charset="0"/>
              </a:rPr>
              <a:t>Provides fundamental computing resources like virtual machines, storage, and networks. Users manage the OS, storage, and applications, while the provider manages the infrastructure.</a:t>
            </a:r>
          </a:p>
          <a:p>
            <a:pPr marL="1200150" lvl="2" indent="-285750">
              <a:buFont typeface="+mj-lt"/>
              <a:buAutoNum type="arabicPeriod"/>
            </a:pPr>
            <a:r>
              <a:rPr lang="en-US" sz="1400" b="1" dirty="0">
                <a:latin typeface="Aptos" panose="020B0004020202020204" pitchFamily="34" charset="0"/>
              </a:rPr>
              <a:t>Example:</a:t>
            </a:r>
            <a:r>
              <a:rPr lang="en-US" sz="1400" dirty="0">
                <a:latin typeface="Aptos" panose="020B0004020202020204" pitchFamily="34" charset="0"/>
              </a:rPr>
              <a:t> AWS EC2, Microsoft Azure Virtual Machines, Google Cloud Compute Engine.</a:t>
            </a:r>
          </a:p>
          <a:p>
            <a:pPr lvl="1">
              <a:buFont typeface="+mj-lt"/>
              <a:buAutoNum type="arabicPeriod"/>
            </a:pPr>
            <a:r>
              <a:rPr lang="en-US" sz="1400" b="1" dirty="0">
                <a:latin typeface="Aptos" panose="020B0004020202020204" pitchFamily="34" charset="0"/>
              </a:rPr>
              <a:t>PaaS (Platform as a Service):</a:t>
            </a:r>
            <a:endParaRPr lang="en-US" sz="1400" dirty="0">
              <a:latin typeface="Aptos" panose="020B0004020202020204" pitchFamily="34" charset="0"/>
            </a:endParaRPr>
          </a:p>
          <a:p>
            <a:pPr marL="1200150" lvl="2" indent="-285750">
              <a:buFont typeface="+mj-lt"/>
              <a:buAutoNum type="arabicPeriod"/>
            </a:pPr>
            <a:r>
              <a:rPr lang="en-US" sz="1400" dirty="0">
                <a:latin typeface="Aptos" panose="020B0004020202020204" pitchFamily="34" charset="0"/>
              </a:rPr>
              <a:t>Offers a platform allowing customers to develop, run, and manage applications without dealing with the underlying infrastructure.</a:t>
            </a:r>
          </a:p>
          <a:p>
            <a:pPr marL="1200150" lvl="2" indent="-285750">
              <a:buFont typeface="+mj-lt"/>
              <a:buAutoNum type="arabicPeriod"/>
            </a:pPr>
            <a:r>
              <a:rPr lang="en-US" sz="1400" b="1" dirty="0">
                <a:latin typeface="Aptos" panose="020B0004020202020204" pitchFamily="34" charset="0"/>
              </a:rPr>
              <a:t>Example:</a:t>
            </a:r>
            <a:r>
              <a:rPr lang="en-US" sz="1400" dirty="0">
                <a:latin typeface="Aptos" panose="020B0004020202020204" pitchFamily="34" charset="0"/>
              </a:rPr>
              <a:t> Heroku, Google App Engine, Microsoft Azure App Services.</a:t>
            </a:r>
          </a:p>
          <a:p>
            <a:pPr lvl="1">
              <a:buFont typeface="+mj-lt"/>
              <a:buAutoNum type="arabicPeriod"/>
            </a:pPr>
            <a:r>
              <a:rPr lang="en-US" sz="1400" b="1" dirty="0">
                <a:latin typeface="Aptos" panose="020B0004020202020204" pitchFamily="34" charset="0"/>
              </a:rPr>
              <a:t>SaaS (Software as a Service):</a:t>
            </a:r>
            <a:endParaRPr lang="en-US" sz="1400" dirty="0">
              <a:latin typeface="Aptos" panose="020B0004020202020204" pitchFamily="34" charset="0"/>
            </a:endParaRPr>
          </a:p>
          <a:p>
            <a:pPr marL="1200150" lvl="2" indent="-285750">
              <a:buFont typeface="+mj-lt"/>
              <a:buAutoNum type="arabicPeriod"/>
            </a:pPr>
            <a:r>
              <a:rPr lang="en-US" sz="1400" dirty="0">
                <a:latin typeface="Aptos" panose="020B0004020202020204" pitchFamily="34" charset="0"/>
              </a:rPr>
              <a:t>Delivers software applications over the internet, on a subscription basis, fully managed by the provider.</a:t>
            </a:r>
          </a:p>
          <a:p>
            <a:pPr marL="1200150" lvl="2" indent="-285750">
              <a:buFont typeface="+mj-lt"/>
              <a:buAutoNum type="arabicPeriod"/>
            </a:pPr>
            <a:r>
              <a:rPr lang="en-US" sz="1400" b="1" dirty="0">
                <a:latin typeface="Aptos" panose="020B0004020202020204" pitchFamily="34" charset="0"/>
              </a:rPr>
              <a:t>Example:</a:t>
            </a:r>
            <a:r>
              <a:rPr lang="en-US" sz="1400" dirty="0">
                <a:latin typeface="Aptos" panose="020B0004020202020204" pitchFamily="34" charset="0"/>
              </a:rPr>
              <a:t> Google Workspace, Salesforce, MS Office 365.</a:t>
            </a:r>
          </a:p>
        </p:txBody>
      </p:sp>
    </p:spTree>
    <p:extLst>
      <p:ext uri="{BB962C8B-B14F-4D97-AF65-F5344CB8AC3E}">
        <p14:creationId xmlns:p14="http://schemas.microsoft.com/office/powerpoint/2010/main" val="1629316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6" name="Picture 5">
            <a:extLst>
              <a:ext uri="{FF2B5EF4-FFF2-40B4-BE49-F238E27FC236}">
                <a16:creationId xmlns:a16="http://schemas.microsoft.com/office/drawing/2014/main" id="{67678A47-CB35-91C5-8306-396A44B6376F}"/>
              </a:ext>
            </a:extLst>
          </p:cNvPr>
          <p:cNvPicPr>
            <a:picLocks noChangeAspect="1"/>
          </p:cNvPicPr>
          <p:nvPr/>
        </p:nvPicPr>
        <p:blipFill>
          <a:blip r:embed="rId7"/>
          <a:stretch>
            <a:fillRect/>
          </a:stretch>
        </p:blipFill>
        <p:spPr>
          <a:xfrm>
            <a:off x="1517202" y="1823940"/>
            <a:ext cx="9157596" cy="4007795"/>
          </a:xfrm>
          <a:prstGeom prst="rect">
            <a:avLst/>
          </a:prstGeom>
        </p:spPr>
      </p:pic>
    </p:spTree>
    <p:extLst>
      <p:ext uri="{BB962C8B-B14F-4D97-AF65-F5344CB8AC3E}">
        <p14:creationId xmlns:p14="http://schemas.microsoft.com/office/powerpoint/2010/main" val="2902878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latin typeface="Aptos" panose="020B0004020202020204" pitchFamily="34" charset="0"/>
              </a:rPr>
              <a:t>IaaS vs PaaS vs SaaS</a:t>
            </a:r>
          </a:p>
          <a:p>
            <a:pPr lvl="1"/>
            <a:r>
              <a:rPr lang="en-US" sz="1400" b="1" dirty="0">
                <a:latin typeface="Aptos" panose="020B0004020202020204" pitchFamily="34" charset="0"/>
              </a:rPr>
              <a:t>IaaS:</a:t>
            </a:r>
            <a:endParaRPr lang="en-US" sz="1400" dirty="0">
              <a:latin typeface="Aptos" panose="020B0004020202020204" pitchFamily="34" charset="0"/>
            </a:endParaRPr>
          </a:p>
          <a:p>
            <a:pPr marL="1200150" lvl="2" indent="-285750"/>
            <a:r>
              <a:rPr lang="en-US" sz="1400" b="1" dirty="0">
                <a:latin typeface="Aptos" panose="020B0004020202020204" pitchFamily="34" charset="0"/>
              </a:rPr>
              <a:t>User Manages:</a:t>
            </a:r>
            <a:r>
              <a:rPr lang="en-US" sz="1400" dirty="0">
                <a:latin typeface="Aptos" panose="020B0004020202020204" pitchFamily="34" charset="0"/>
              </a:rPr>
              <a:t> OS, applications, storage.</a:t>
            </a:r>
          </a:p>
          <a:p>
            <a:pPr marL="1200150" lvl="2" indent="-285750"/>
            <a:r>
              <a:rPr lang="en-US" sz="1400" b="1" dirty="0">
                <a:latin typeface="Aptos" panose="020B0004020202020204" pitchFamily="34" charset="0"/>
              </a:rPr>
              <a:t>Provider Manages:</a:t>
            </a:r>
            <a:r>
              <a:rPr lang="en-US" sz="1400" dirty="0">
                <a:latin typeface="Aptos" panose="020B0004020202020204" pitchFamily="34" charset="0"/>
              </a:rPr>
              <a:t> Virtualization, servers, storage, networking.</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AWS EC2, Azure VMs.</a:t>
            </a:r>
          </a:p>
          <a:p>
            <a:pPr lvl="1"/>
            <a:r>
              <a:rPr lang="en-US" sz="1400" b="1" dirty="0">
                <a:latin typeface="Aptos" panose="020B0004020202020204" pitchFamily="34" charset="0"/>
              </a:rPr>
              <a:t>PaaS:</a:t>
            </a:r>
            <a:endParaRPr lang="en-US" sz="1400" dirty="0">
              <a:latin typeface="Aptos" panose="020B0004020202020204" pitchFamily="34" charset="0"/>
            </a:endParaRPr>
          </a:p>
          <a:p>
            <a:pPr marL="1200150" lvl="2" indent="-285750"/>
            <a:r>
              <a:rPr lang="en-US" sz="1400" b="1" dirty="0">
                <a:latin typeface="Aptos" panose="020B0004020202020204" pitchFamily="34" charset="0"/>
              </a:rPr>
              <a:t>User Manages:</a:t>
            </a:r>
            <a:r>
              <a:rPr lang="en-US" sz="1400" dirty="0">
                <a:latin typeface="Aptos" panose="020B0004020202020204" pitchFamily="34" charset="0"/>
              </a:rPr>
              <a:t> Applications and data.</a:t>
            </a:r>
          </a:p>
          <a:p>
            <a:pPr marL="1200150" lvl="2" indent="-285750"/>
            <a:r>
              <a:rPr lang="en-US" sz="1400" b="1" dirty="0">
                <a:latin typeface="Aptos" panose="020B0004020202020204" pitchFamily="34" charset="0"/>
              </a:rPr>
              <a:t>Provider Manages:</a:t>
            </a:r>
            <a:r>
              <a:rPr lang="en-US" sz="1400" dirty="0">
                <a:latin typeface="Aptos" panose="020B0004020202020204" pitchFamily="34" charset="0"/>
              </a:rPr>
              <a:t> OS, middleware, runtime, servers, storage.</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Google App Engine, Heroku.</a:t>
            </a:r>
          </a:p>
          <a:p>
            <a:pPr lvl="1"/>
            <a:r>
              <a:rPr lang="en-US" sz="1400" b="1" dirty="0">
                <a:latin typeface="Aptos" panose="020B0004020202020204" pitchFamily="34" charset="0"/>
              </a:rPr>
              <a:t>SaaS:</a:t>
            </a:r>
            <a:endParaRPr lang="en-US" sz="1400" dirty="0">
              <a:latin typeface="Aptos" panose="020B0004020202020204" pitchFamily="34" charset="0"/>
            </a:endParaRPr>
          </a:p>
          <a:p>
            <a:pPr marL="1200150" lvl="2" indent="-285750"/>
            <a:r>
              <a:rPr lang="en-US" sz="1400" b="1" dirty="0">
                <a:latin typeface="Aptos" panose="020B0004020202020204" pitchFamily="34" charset="0"/>
              </a:rPr>
              <a:t>User Manages:</a:t>
            </a:r>
            <a:r>
              <a:rPr lang="en-US" sz="1400" dirty="0">
                <a:latin typeface="Aptos" panose="020B0004020202020204" pitchFamily="34" charset="0"/>
              </a:rPr>
              <a:t> Only application configuration.</a:t>
            </a:r>
          </a:p>
          <a:p>
            <a:pPr marL="1200150" lvl="2" indent="-285750"/>
            <a:r>
              <a:rPr lang="en-US" sz="1400" b="1" dirty="0">
                <a:latin typeface="Aptos" panose="020B0004020202020204" pitchFamily="34" charset="0"/>
              </a:rPr>
              <a:t>Provider Manages:</a:t>
            </a:r>
            <a:r>
              <a:rPr lang="en-US" sz="1400" dirty="0">
                <a:latin typeface="Aptos" panose="020B0004020202020204" pitchFamily="34" charset="0"/>
              </a:rPr>
              <a:t> Everything else, including applications.</a:t>
            </a:r>
          </a:p>
          <a:p>
            <a:pPr marL="1200150" lvl="2" indent="-285750"/>
            <a:r>
              <a:rPr lang="en-US" sz="1400" b="1" dirty="0">
                <a:latin typeface="Aptos" panose="020B0004020202020204" pitchFamily="34" charset="0"/>
              </a:rPr>
              <a:t>Example:</a:t>
            </a:r>
            <a:r>
              <a:rPr lang="en-US" sz="1400" dirty="0">
                <a:latin typeface="Aptos" panose="020B0004020202020204" pitchFamily="34" charset="0"/>
              </a:rPr>
              <a:t> Gmail, Slack, Dropbox.</a:t>
            </a:r>
          </a:p>
          <a:p>
            <a:r>
              <a:rPr lang="en-US" sz="1400" b="1" dirty="0">
                <a:latin typeface="Aptos" panose="020B0004020202020204" pitchFamily="34" charset="0"/>
              </a:rPr>
              <a:t>Cloud Deployment Models</a:t>
            </a:r>
          </a:p>
          <a:p>
            <a:pPr lvl="1"/>
            <a:r>
              <a:rPr lang="en-US" sz="1400" b="1" dirty="0">
                <a:latin typeface="Aptos" panose="020B0004020202020204" pitchFamily="34" charset="0"/>
              </a:rPr>
              <a:t>Public Cloud:</a:t>
            </a:r>
            <a:endParaRPr lang="en-US" sz="1400" dirty="0">
              <a:latin typeface="Aptos" panose="020B0004020202020204" pitchFamily="34" charset="0"/>
            </a:endParaRPr>
          </a:p>
          <a:p>
            <a:pPr lvl="2"/>
            <a:r>
              <a:rPr lang="en-US" sz="1400" dirty="0">
                <a:latin typeface="Aptos" panose="020B0004020202020204" pitchFamily="34" charset="0"/>
              </a:rPr>
              <a:t>Services offered over the public internet and available to anyone who wants to purchase them.</a:t>
            </a:r>
          </a:p>
          <a:p>
            <a:pPr lvl="2"/>
            <a:r>
              <a:rPr lang="en-US" sz="1400" b="1" dirty="0">
                <a:latin typeface="Aptos" panose="020B0004020202020204" pitchFamily="34" charset="0"/>
              </a:rPr>
              <a:t>Example:</a:t>
            </a:r>
            <a:r>
              <a:rPr lang="en-US" sz="1400" dirty="0">
                <a:latin typeface="Aptos" panose="020B0004020202020204" pitchFamily="34" charset="0"/>
              </a:rPr>
              <a:t> AWS, Microsoft Azure, Google Cloud.</a:t>
            </a:r>
          </a:p>
          <a:p>
            <a:pPr lvl="1"/>
            <a:r>
              <a:rPr lang="en-US" sz="1400" b="1" dirty="0">
                <a:latin typeface="Aptos" panose="020B0004020202020204" pitchFamily="34" charset="0"/>
              </a:rPr>
              <a:t>Private Cloud:</a:t>
            </a:r>
            <a:endParaRPr lang="en-US" sz="1400" dirty="0">
              <a:latin typeface="Aptos" panose="020B0004020202020204" pitchFamily="34" charset="0"/>
            </a:endParaRPr>
          </a:p>
          <a:p>
            <a:pPr lvl="2"/>
            <a:r>
              <a:rPr lang="en-US" sz="1400" dirty="0">
                <a:latin typeface="Aptos" panose="020B0004020202020204" pitchFamily="34" charset="0"/>
              </a:rPr>
              <a:t>Exclusive cloud environment dedicated to a single organization, offering more control and security.</a:t>
            </a:r>
          </a:p>
          <a:p>
            <a:pPr lvl="2"/>
            <a:r>
              <a:rPr lang="en-US" sz="1400" b="1" dirty="0">
                <a:latin typeface="Aptos" panose="020B0004020202020204" pitchFamily="34" charset="0"/>
              </a:rPr>
              <a:t>Example:</a:t>
            </a:r>
            <a:r>
              <a:rPr lang="en-US" sz="1400" dirty="0">
                <a:latin typeface="Aptos" panose="020B0004020202020204" pitchFamily="34" charset="0"/>
              </a:rPr>
              <a:t> Internal cloud resources managed within a company’s own data center.</a:t>
            </a:r>
          </a:p>
          <a:p>
            <a:pPr lvl="1"/>
            <a:r>
              <a:rPr lang="en-US" sz="1400" b="1" dirty="0">
                <a:latin typeface="Aptos" panose="020B0004020202020204" pitchFamily="34" charset="0"/>
              </a:rPr>
              <a:t>Hybrid Cloud:</a:t>
            </a:r>
            <a:endParaRPr lang="en-US" sz="1400" dirty="0">
              <a:latin typeface="Aptos" panose="020B0004020202020204" pitchFamily="34" charset="0"/>
            </a:endParaRPr>
          </a:p>
          <a:p>
            <a:pPr lvl="2"/>
            <a:r>
              <a:rPr lang="en-US" sz="1400" dirty="0">
                <a:latin typeface="Aptos" panose="020B0004020202020204" pitchFamily="34" charset="0"/>
              </a:rPr>
              <a:t>Combines public and private clouds, allowing data and applications to be shared between them.</a:t>
            </a:r>
          </a:p>
          <a:p>
            <a:pPr lvl="2"/>
            <a:r>
              <a:rPr lang="en-US" sz="1400" b="1" dirty="0">
                <a:latin typeface="Aptos" panose="020B0004020202020204" pitchFamily="34" charset="0"/>
              </a:rPr>
              <a:t>Example:</a:t>
            </a:r>
            <a:r>
              <a:rPr lang="en-US" sz="1400" dirty="0">
                <a:latin typeface="Aptos" panose="020B0004020202020204" pitchFamily="34" charset="0"/>
              </a:rPr>
              <a:t> An organization might use a private cloud for sensitive operations and a public cloud for less-critical resources.</a:t>
            </a:r>
          </a:p>
        </p:txBody>
      </p:sp>
    </p:spTree>
    <p:extLst>
      <p:ext uri="{BB962C8B-B14F-4D97-AF65-F5344CB8AC3E}">
        <p14:creationId xmlns:p14="http://schemas.microsoft.com/office/powerpoint/2010/main" val="3000149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5122" name="Picture 2" descr="Types of Cloud Computing - Cloud Computing Tutorial">
            <a:extLst>
              <a:ext uri="{FF2B5EF4-FFF2-40B4-BE49-F238E27FC236}">
                <a16:creationId xmlns:a16="http://schemas.microsoft.com/office/drawing/2014/main" id="{ED9C2F38-5895-3C40-E509-185650B9D1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52985" y="1463040"/>
            <a:ext cx="6686029" cy="4680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446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400" b="1" dirty="0">
                <a:latin typeface="Aptos" panose="020B0004020202020204" pitchFamily="34" charset="0"/>
              </a:rPr>
              <a:t>Community Cloud:</a:t>
            </a:r>
            <a:endParaRPr lang="en-US" sz="1400" dirty="0">
              <a:latin typeface="Aptos" panose="020B0004020202020204" pitchFamily="34" charset="0"/>
            </a:endParaRPr>
          </a:p>
          <a:p>
            <a:pPr lvl="2"/>
            <a:r>
              <a:rPr lang="en-US" sz="1400" dirty="0">
                <a:latin typeface="Aptos" panose="020B0004020202020204" pitchFamily="34" charset="0"/>
              </a:rPr>
              <a:t>A shared cloud environment that serves a specific community with shared concerns, such as regulatory requirements.</a:t>
            </a:r>
          </a:p>
          <a:p>
            <a:pPr lvl="2"/>
            <a:r>
              <a:rPr lang="en-US" sz="1400" b="1" dirty="0">
                <a:latin typeface="Aptos" panose="020B0004020202020204" pitchFamily="34" charset="0"/>
              </a:rPr>
              <a:t>Example:</a:t>
            </a:r>
            <a:r>
              <a:rPr lang="en-US" sz="1400" dirty="0">
                <a:latin typeface="Aptos" panose="020B0004020202020204" pitchFamily="34" charset="0"/>
              </a:rPr>
              <a:t> Government agencies with shared infrastructure.</a:t>
            </a:r>
            <a:endParaRPr lang="en-US" sz="1400" b="1" dirty="0">
              <a:latin typeface="Aptos" panose="020B0004020202020204" pitchFamily="34" charset="0"/>
            </a:endParaRPr>
          </a:p>
          <a:p>
            <a:r>
              <a:rPr lang="en-US" sz="1400" b="1" dirty="0">
                <a:latin typeface="Aptos" panose="020B0004020202020204" pitchFamily="34" charset="0"/>
              </a:rPr>
              <a:t>Cloud Infrastructure Models</a:t>
            </a:r>
          </a:p>
          <a:p>
            <a:pPr lvl="1"/>
            <a:r>
              <a:rPr lang="en-US" sz="1300" b="1" dirty="0">
                <a:latin typeface="Aptos" panose="020B0004020202020204" pitchFamily="34" charset="0"/>
              </a:rPr>
              <a:t>Virtualization:</a:t>
            </a:r>
            <a:endParaRPr lang="en-US" sz="1300" dirty="0">
              <a:latin typeface="Aptos" panose="020B0004020202020204" pitchFamily="34" charset="0"/>
            </a:endParaRPr>
          </a:p>
          <a:p>
            <a:pPr marL="1200150" lvl="2" indent="-285750"/>
            <a:r>
              <a:rPr lang="en-US" sz="1300" dirty="0">
                <a:latin typeface="Aptos" panose="020B0004020202020204" pitchFamily="34" charset="0"/>
              </a:rPr>
              <a:t>The creation of virtual versions of physical resources, such as servers or storage, enabling flexible resource management.</a:t>
            </a:r>
          </a:p>
          <a:p>
            <a:pPr marL="1200150" lvl="2" indent="-285750"/>
            <a:r>
              <a:rPr lang="en-US" sz="1300" b="1" dirty="0">
                <a:latin typeface="Aptos" panose="020B0004020202020204" pitchFamily="34" charset="0"/>
              </a:rPr>
              <a:t>Example:</a:t>
            </a:r>
            <a:r>
              <a:rPr lang="en-US" sz="1300" dirty="0">
                <a:latin typeface="Aptos" panose="020B0004020202020204" pitchFamily="34" charset="0"/>
              </a:rPr>
              <a:t> VMware vSphere.</a:t>
            </a:r>
          </a:p>
          <a:p>
            <a:pPr lvl="1"/>
            <a:r>
              <a:rPr lang="en-US" sz="1300" b="1" dirty="0">
                <a:latin typeface="Aptos" panose="020B0004020202020204" pitchFamily="34" charset="0"/>
              </a:rPr>
              <a:t>Containers:</a:t>
            </a:r>
            <a:endParaRPr lang="en-US" sz="1300" dirty="0">
              <a:latin typeface="Aptos" panose="020B0004020202020204" pitchFamily="34" charset="0"/>
            </a:endParaRPr>
          </a:p>
          <a:p>
            <a:pPr marL="1200150" lvl="2" indent="-285750"/>
            <a:r>
              <a:rPr lang="en-US" sz="1300" dirty="0">
                <a:latin typeface="Aptos" panose="020B0004020202020204" pitchFamily="34" charset="0"/>
              </a:rPr>
              <a:t>Lightweight virtualization that allows applications to run consistently across various environments by packaging code and dependencies together.</a:t>
            </a:r>
          </a:p>
          <a:p>
            <a:pPr marL="1200150" lvl="2" indent="-285750"/>
            <a:r>
              <a:rPr lang="en-US" sz="1300" b="1" dirty="0">
                <a:latin typeface="Aptos" panose="020B0004020202020204" pitchFamily="34" charset="0"/>
              </a:rPr>
              <a:t>Example:</a:t>
            </a:r>
            <a:r>
              <a:rPr lang="en-US" sz="1300" dirty="0">
                <a:latin typeface="Aptos" panose="020B0004020202020204" pitchFamily="34" charset="0"/>
              </a:rPr>
              <a:t> Docker.</a:t>
            </a:r>
          </a:p>
          <a:p>
            <a:pPr lvl="1"/>
            <a:r>
              <a:rPr lang="en-US" sz="1300" b="1" dirty="0">
                <a:latin typeface="Aptos" panose="020B0004020202020204" pitchFamily="34" charset="0"/>
              </a:rPr>
              <a:t>Serverless Computing:</a:t>
            </a:r>
            <a:endParaRPr lang="en-US" sz="1300" dirty="0">
              <a:latin typeface="Aptos" panose="020B0004020202020204" pitchFamily="34" charset="0"/>
            </a:endParaRPr>
          </a:p>
          <a:p>
            <a:pPr marL="1200150" lvl="2" indent="-285750"/>
            <a:r>
              <a:rPr lang="en-US" sz="1300" dirty="0">
                <a:latin typeface="Aptos" panose="020B0004020202020204" pitchFamily="34" charset="0"/>
              </a:rPr>
              <a:t>A cloud-computing model where the cloud provider automatically manages the infrastructure, scaling resources up or down as needed.</a:t>
            </a:r>
          </a:p>
          <a:p>
            <a:pPr marL="1200150" lvl="2" indent="-285750"/>
            <a:r>
              <a:rPr lang="en-US" sz="1300" b="1" dirty="0">
                <a:latin typeface="Aptos" panose="020B0004020202020204" pitchFamily="34" charset="0"/>
              </a:rPr>
              <a:t>Example:</a:t>
            </a:r>
            <a:r>
              <a:rPr lang="en-US" sz="1300" dirty="0">
                <a:latin typeface="Aptos" panose="020B0004020202020204" pitchFamily="34" charset="0"/>
              </a:rPr>
              <a:t> AWS Lambda.</a:t>
            </a:r>
          </a:p>
          <a:p>
            <a:r>
              <a:rPr lang="en-US" sz="1400" b="1" dirty="0">
                <a:latin typeface="Aptos" panose="020B0004020202020204" pitchFamily="34" charset="0"/>
              </a:rPr>
              <a:t>Cloud Storage and Data Management</a:t>
            </a:r>
          </a:p>
          <a:p>
            <a:pPr lvl="1"/>
            <a:r>
              <a:rPr lang="en-US" sz="1300" b="1" dirty="0">
                <a:latin typeface="Aptos" panose="020B0004020202020204" pitchFamily="34" charset="0"/>
              </a:rPr>
              <a:t>Object Storage:</a:t>
            </a:r>
            <a:endParaRPr lang="en-US" sz="1300" dirty="0">
              <a:latin typeface="Aptos" panose="020B0004020202020204" pitchFamily="34" charset="0"/>
            </a:endParaRPr>
          </a:p>
          <a:p>
            <a:pPr marL="1200150" lvl="2" indent="-285750"/>
            <a:r>
              <a:rPr lang="en-US" sz="1300" dirty="0">
                <a:latin typeface="Aptos" panose="020B0004020202020204" pitchFamily="34" charset="0"/>
              </a:rPr>
              <a:t>Stores data as objects, each with its own unique identifier, suitable for unstructured data.</a:t>
            </a:r>
          </a:p>
          <a:p>
            <a:pPr marL="1200150" lvl="2" indent="-285750"/>
            <a:r>
              <a:rPr lang="en-US" sz="1300" b="1" dirty="0">
                <a:latin typeface="Aptos" panose="020B0004020202020204" pitchFamily="34" charset="0"/>
              </a:rPr>
              <a:t>Example:</a:t>
            </a:r>
            <a:r>
              <a:rPr lang="en-US" sz="1300" dirty="0">
                <a:latin typeface="Aptos" panose="020B0004020202020204" pitchFamily="34" charset="0"/>
              </a:rPr>
              <a:t> Amazon S3, Google Cloud Storage.</a:t>
            </a:r>
          </a:p>
          <a:p>
            <a:pPr lvl="1"/>
            <a:r>
              <a:rPr lang="en-US" sz="1300" b="1" dirty="0">
                <a:latin typeface="Aptos" panose="020B0004020202020204" pitchFamily="34" charset="0"/>
              </a:rPr>
              <a:t>Block Storage:</a:t>
            </a:r>
            <a:endParaRPr lang="en-US" sz="1300" dirty="0">
              <a:latin typeface="Aptos" panose="020B0004020202020204" pitchFamily="34" charset="0"/>
            </a:endParaRPr>
          </a:p>
          <a:p>
            <a:pPr marL="1200150" lvl="2" indent="-285750"/>
            <a:r>
              <a:rPr lang="en-US" sz="1300" dirty="0">
                <a:latin typeface="Aptos" panose="020B0004020202020204" pitchFamily="34" charset="0"/>
              </a:rPr>
              <a:t>Data is stored in blocks, similar to traditional hard drives, providing high performance for databases.</a:t>
            </a:r>
          </a:p>
          <a:p>
            <a:pPr marL="1200150" lvl="2" indent="-285750"/>
            <a:r>
              <a:rPr lang="en-US" sz="1300" b="1" dirty="0">
                <a:latin typeface="Aptos" panose="020B0004020202020204" pitchFamily="34" charset="0"/>
              </a:rPr>
              <a:t>Example:</a:t>
            </a:r>
            <a:r>
              <a:rPr lang="en-US" sz="1300" dirty="0">
                <a:latin typeface="Aptos" panose="020B0004020202020204" pitchFamily="34" charset="0"/>
              </a:rPr>
              <a:t> AWS EBS, Azure Disks.</a:t>
            </a:r>
          </a:p>
          <a:p>
            <a:pPr lvl="1"/>
            <a:r>
              <a:rPr lang="en-US" sz="1300" b="1" dirty="0">
                <a:latin typeface="Aptos" panose="020B0004020202020204" pitchFamily="34" charset="0"/>
              </a:rPr>
              <a:t>File Storage:</a:t>
            </a:r>
            <a:endParaRPr lang="en-US" sz="1300" dirty="0">
              <a:latin typeface="Aptos" panose="020B0004020202020204" pitchFamily="34" charset="0"/>
            </a:endParaRPr>
          </a:p>
          <a:p>
            <a:pPr marL="1200150" lvl="2" indent="-285750"/>
            <a:r>
              <a:rPr lang="en-US" sz="1300" dirty="0">
                <a:latin typeface="Aptos" panose="020B0004020202020204" pitchFamily="34" charset="0"/>
              </a:rPr>
              <a:t>Stores data in a hierarchical file system, suitable for shared file storage.</a:t>
            </a:r>
          </a:p>
          <a:p>
            <a:pPr marL="1200150" lvl="2" indent="-285750"/>
            <a:r>
              <a:rPr lang="en-US" sz="1300" b="1" dirty="0">
                <a:latin typeface="Aptos" panose="020B0004020202020204" pitchFamily="34" charset="0"/>
              </a:rPr>
              <a:t>Example:</a:t>
            </a:r>
            <a:r>
              <a:rPr lang="en-US" sz="1300" dirty="0">
                <a:latin typeface="Aptos" panose="020B0004020202020204" pitchFamily="34" charset="0"/>
              </a:rPr>
              <a:t> Amazon EFS, Azure Files.</a:t>
            </a:r>
          </a:p>
        </p:txBody>
      </p:sp>
    </p:spTree>
    <p:extLst>
      <p:ext uri="{BB962C8B-B14F-4D97-AF65-F5344CB8AC3E}">
        <p14:creationId xmlns:p14="http://schemas.microsoft.com/office/powerpoint/2010/main" val="20527188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369</TotalTime>
  <Words>1137</Words>
  <Application>Microsoft Office PowerPoint</Application>
  <PresentationFormat>Widescreen</PresentationFormat>
  <Paragraphs>130</Paragraphs>
  <Slides>1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ptos</vt:lpstr>
      <vt:lpstr>Arial</vt:lpstr>
      <vt:lpstr>Calibri</vt:lpstr>
      <vt:lpstr>Office Theme</vt:lpstr>
      <vt:lpstr>think-cell Slide</vt:lpstr>
      <vt:lpstr>PowerPoint Presentation</vt:lpstr>
      <vt:lpstr>PowerPoint Presentation</vt:lpstr>
      <vt:lpstr>Learning 1 | My takeaways</vt:lpstr>
      <vt:lpstr>Learning 1 | My takeaways</vt:lpstr>
      <vt:lpstr>Learning 2 | My takeaways</vt:lpstr>
      <vt:lpstr>Learning 2 | My takeaways</vt:lpstr>
      <vt:lpstr>Learning 3 | My takeaways</vt:lpstr>
      <vt:lpstr>Learning 3 | My takeaways</vt:lpstr>
      <vt:lpstr>Learning 4 | My takeaways</vt:lpstr>
      <vt:lpstr>Learning 5 | My takeaways</vt:lpstr>
      <vt:lpstr>Learning 6 | My takeaway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K</cp:lastModifiedBy>
  <cp:revision>523</cp:revision>
  <dcterms:created xsi:type="dcterms:W3CDTF">2022-01-18T12:35:56Z</dcterms:created>
  <dcterms:modified xsi:type="dcterms:W3CDTF">2024-09-06T14:5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